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67"/>
  </p:notesMasterIdLst>
  <p:handoutMasterIdLst>
    <p:handoutMasterId r:id="rId68"/>
  </p:handoutMasterIdLst>
  <p:sldIdLst>
    <p:sldId id="371" r:id="rId6"/>
    <p:sldId id="260" r:id="rId7"/>
    <p:sldId id="523" r:id="rId8"/>
    <p:sldId id="524" r:id="rId9"/>
    <p:sldId id="506" r:id="rId10"/>
    <p:sldId id="525" r:id="rId11"/>
    <p:sldId id="318" r:id="rId12"/>
    <p:sldId id="526" r:id="rId13"/>
    <p:sldId id="527" r:id="rId14"/>
    <p:sldId id="528" r:id="rId15"/>
    <p:sldId id="2134805417" r:id="rId16"/>
    <p:sldId id="302" r:id="rId17"/>
    <p:sldId id="498" r:id="rId18"/>
    <p:sldId id="375" r:id="rId19"/>
    <p:sldId id="529" r:id="rId20"/>
    <p:sldId id="530" r:id="rId21"/>
    <p:sldId id="378" r:id="rId22"/>
    <p:sldId id="2134805399" r:id="rId23"/>
    <p:sldId id="369" r:id="rId24"/>
    <p:sldId id="531" r:id="rId25"/>
    <p:sldId id="532" r:id="rId26"/>
    <p:sldId id="415" r:id="rId27"/>
    <p:sldId id="511" r:id="rId28"/>
    <p:sldId id="322" r:id="rId29"/>
    <p:sldId id="473" r:id="rId30"/>
    <p:sldId id="547" r:id="rId31"/>
    <p:sldId id="474" r:id="rId32"/>
    <p:sldId id="475" r:id="rId33"/>
    <p:sldId id="549" r:id="rId34"/>
    <p:sldId id="452" r:id="rId35"/>
    <p:sldId id="546" r:id="rId36"/>
    <p:sldId id="403" r:id="rId37"/>
    <p:sldId id="465" r:id="rId38"/>
    <p:sldId id="548" r:id="rId39"/>
    <p:sldId id="332" r:id="rId40"/>
    <p:sldId id="533" r:id="rId41"/>
    <p:sldId id="534" r:id="rId42"/>
    <p:sldId id="406" r:id="rId43"/>
    <p:sldId id="407" r:id="rId44"/>
    <p:sldId id="408" r:id="rId45"/>
    <p:sldId id="410" r:id="rId46"/>
    <p:sldId id="411" r:id="rId47"/>
    <p:sldId id="516" r:id="rId48"/>
    <p:sldId id="517" r:id="rId49"/>
    <p:sldId id="343" r:id="rId50"/>
    <p:sldId id="502" r:id="rId51"/>
    <p:sldId id="536" r:id="rId52"/>
    <p:sldId id="483" r:id="rId53"/>
    <p:sldId id="537" r:id="rId54"/>
    <p:sldId id="538" r:id="rId55"/>
    <p:sldId id="478" r:id="rId56"/>
    <p:sldId id="539" r:id="rId57"/>
    <p:sldId id="540" r:id="rId58"/>
    <p:sldId id="481" r:id="rId59"/>
    <p:sldId id="355" r:id="rId60"/>
    <p:sldId id="2134805400" r:id="rId61"/>
    <p:sldId id="2134805401" r:id="rId62"/>
    <p:sldId id="519" r:id="rId63"/>
    <p:sldId id="520" r:id="rId64"/>
    <p:sldId id="432" r:id="rId65"/>
    <p:sldId id="372" r:id="rId6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27FDBC-B5C0-4472-9E3A-FCEC2326CF70}" v="1" dt="2023-11-30T11:39:31.5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716" autoAdjust="0"/>
    <p:restoredTop sz="94660"/>
  </p:normalViewPr>
  <p:slideViewPr>
    <p:cSldViewPr snapToGrid="0" showGuides="1">
      <p:cViewPr varScale="1">
        <p:scale>
          <a:sx n="97" d="100"/>
          <a:sy n="97" d="100"/>
        </p:scale>
        <p:origin x="150" y="294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701"/>
    </p:cViewPr>
  </p:sorter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microsoft.com/office/2015/10/relationships/revisionInfo" Target="revisionInfo.xml"/><Relationship Id="rId5" Type="http://schemas.openxmlformats.org/officeDocument/2006/relationships/slideMaster" Target="slideMasters/slideMaster1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7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DHRI Moncef" userId="895ef482-96ff-4dd4-9c74-0dc92131d96c" providerId="ADAL" clId="{05BB7CD5-08BF-4478-9E84-E0BBDCE07E12}"/>
    <pc:docChg chg="undo custSel modSld">
      <pc:chgData name="HADHRI Moncef" userId="895ef482-96ff-4dd4-9c74-0dc92131d96c" providerId="ADAL" clId="{05BB7CD5-08BF-4478-9E84-E0BBDCE07E12}" dt="2023-10-20T09:11:37.625" v="84"/>
      <pc:docMkLst>
        <pc:docMk/>
      </pc:docMkLst>
      <pc:sldChg chg="modSp mod">
        <pc:chgData name="HADHRI Moncef" userId="895ef482-96ff-4dd4-9c74-0dc92131d96c" providerId="ADAL" clId="{05BB7CD5-08BF-4478-9E84-E0BBDCE07E12}" dt="2023-10-20T09:08:53.690" v="0" actId="6549"/>
        <pc:sldMkLst>
          <pc:docMk/>
          <pc:sldMk cId="3486425364" sldId="431"/>
        </pc:sldMkLst>
        <pc:spChg chg="mod">
          <ac:chgData name="HADHRI Moncef" userId="895ef482-96ff-4dd4-9c74-0dc92131d96c" providerId="ADAL" clId="{05BB7CD5-08BF-4478-9E84-E0BBDCE07E12}" dt="2023-10-20T09:08:53.690" v="0" actId="6549"/>
          <ac:spMkLst>
            <pc:docMk/>
            <pc:sldMk cId="3486425364" sldId="431"/>
            <ac:spMk id="5" creationId="{E3171D2C-2A40-AF98-7749-2801678EA579}"/>
          </ac:spMkLst>
        </pc:spChg>
      </pc:sldChg>
      <pc:sldChg chg="addSp modSp">
        <pc:chgData name="HADHRI Moncef" userId="895ef482-96ff-4dd4-9c74-0dc92131d96c" providerId="ADAL" clId="{05BB7CD5-08BF-4478-9E84-E0BBDCE07E12}" dt="2023-10-20T09:11:27.185" v="81"/>
        <pc:sldMkLst>
          <pc:docMk/>
          <pc:sldMk cId="4003818425" sldId="452"/>
        </pc:sldMkLst>
        <pc:spChg chg="add mod">
          <ac:chgData name="HADHRI Moncef" userId="895ef482-96ff-4dd4-9c74-0dc92131d96c" providerId="ADAL" clId="{05BB7CD5-08BF-4478-9E84-E0BBDCE07E12}" dt="2023-10-20T09:11:27.185" v="81"/>
          <ac:spMkLst>
            <pc:docMk/>
            <pc:sldMk cId="4003818425" sldId="452"/>
            <ac:spMk id="2" creationId="{647F95EC-25B0-44FF-ED8E-C04A0C3681C2}"/>
          </ac:spMkLst>
        </pc:spChg>
      </pc:sldChg>
      <pc:sldChg chg="addSp modSp">
        <pc:chgData name="HADHRI Moncef" userId="895ef482-96ff-4dd4-9c74-0dc92131d96c" providerId="ADAL" clId="{05BB7CD5-08BF-4478-9E84-E0BBDCE07E12}" dt="2023-10-20T09:11:32.762" v="83"/>
        <pc:sldMkLst>
          <pc:docMk/>
          <pc:sldMk cId="2606274184" sldId="465"/>
        </pc:sldMkLst>
        <pc:spChg chg="add mod">
          <ac:chgData name="HADHRI Moncef" userId="895ef482-96ff-4dd4-9c74-0dc92131d96c" providerId="ADAL" clId="{05BB7CD5-08BF-4478-9E84-E0BBDCE07E12}" dt="2023-10-20T09:11:32.762" v="83"/>
          <ac:spMkLst>
            <pc:docMk/>
            <pc:sldMk cId="2606274184" sldId="465"/>
            <ac:spMk id="2" creationId="{EBCFFAA3-F1FB-71F7-5CC6-F34B0C74F8BD}"/>
          </ac:spMkLst>
        </pc:spChg>
      </pc:sldChg>
      <pc:sldChg chg="addSp modSp">
        <pc:chgData name="HADHRI Moncef" userId="895ef482-96ff-4dd4-9c74-0dc92131d96c" providerId="ADAL" clId="{05BB7CD5-08BF-4478-9E84-E0BBDCE07E12}" dt="2023-10-20T09:11:19.724" v="76"/>
        <pc:sldMkLst>
          <pc:docMk/>
          <pc:sldMk cId="4223220080" sldId="473"/>
        </pc:sldMkLst>
        <pc:spChg chg="add mod">
          <ac:chgData name="HADHRI Moncef" userId="895ef482-96ff-4dd4-9c74-0dc92131d96c" providerId="ADAL" clId="{05BB7CD5-08BF-4478-9E84-E0BBDCE07E12}" dt="2023-10-20T09:11:19.724" v="76"/>
          <ac:spMkLst>
            <pc:docMk/>
            <pc:sldMk cId="4223220080" sldId="473"/>
            <ac:spMk id="2" creationId="{6CBD9161-D44E-043F-D5CC-A3ACD811B5C9}"/>
          </ac:spMkLst>
        </pc:spChg>
      </pc:sldChg>
      <pc:sldChg chg="addSp modSp">
        <pc:chgData name="HADHRI Moncef" userId="895ef482-96ff-4dd4-9c74-0dc92131d96c" providerId="ADAL" clId="{05BB7CD5-08BF-4478-9E84-E0BBDCE07E12}" dt="2023-10-20T09:11:22.568" v="78"/>
        <pc:sldMkLst>
          <pc:docMk/>
          <pc:sldMk cId="696988029" sldId="474"/>
        </pc:sldMkLst>
        <pc:spChg chg="add mod">
          <ac:chgData name="HADHRI Moncef" userId="895ef482-96ff-4dd4-9c74-0dc92131d96c" providerId="ADAL" clId="{05BB7CD5-08BF-4478-9E84-E0BBDCE07E12}" dt="2023-10-20T09:11:22.568" v="78"/>
          <ac:spMkLst>
            <pc:docMk/>
            <pc:sldMk cId="696988029" sldId="474"/>
            <ac:spMk id="2" creationId="{49A910D0-A7FD-9B27-E38F-3F776020E1E1}"/>
          </ac:spMkLst>
        </pc:spChg>
      </pc:sldChg>
      <pc:sldChg chg="addSp modSp">
        <pc:chgData name="HADHRI Moncef" userId="895ef482-96ff-4dd4-9c74-0dc92131d96c" providerId="ADAL" clId="{05BB7CD5-08BF-4478-9E84-E0BBDCE07E12}" dt="2023-10-20T09:11:24.012" v="79"/>
        <pc:sldMkLst>
          <pc:docMk/>
          <pc:sldMk cId="1483498060" sldId="475"/>
        </pc:sldMkLst>
        <pc:spChg chg="add mod">
          <ac:chgData name="HADHRI Moncef" userId="895ef482-96ff-4dd4-9c74-0dc92131d96c" providerId="ADAL" clId="{05BB7CD5-08BF-4478-9E84-E0BBDCE07E12}" dt="2023-10-20T09:11:24.012" v="79"/>
          <ac:spMkLst>
            <pc:docMk/>
            <pc:sldMk cId="1483498060" sldId="475"/>
            <ac:spMk id="2" creationId="{05A8E29E-AB9F-3CB5-FF4D-33EF94EF9437}"/>
          </ac:spMkLst>
        </pc:spChg>
      </pc:sldChg>
      <pc:sldChg chg="modSp mod">
        <pc:chgData name="HADHRI Moncef" userId="895ef482-96ff-4dd4-9c74-0dc92131d96c" providerId="ADAL" clId="{05BB7CD5-08BF-4478-9E84-E0BBDCE07E12}" dt="2023-10-20T09:09:08.439" v="4" actId="6549"/>
        <pc:sldMkLst>
          <pc:docMk/>
          <pc:sldMk cId="3951615262" sldId="508"/>
        </pc:sldMkLst>
        <pc:spChg chg="mod">
          <ac:chgData name="HADHRI Moncef" userId="895ef482-96ff-4dd4-9c74-0dc92131d96c" providerId="ADAL" clId="{05BB7CD5-08BF-4478-9E84-E0BBDCE07E12}" dt="2023-10-20T09:09:08.439" v="4" actId="6549"/>
          <ac:spMkLst>
            <pc:docMk/>
            <pc:sldMk cId="3951615262" sldId="508"/>
            <ac:spMk id="3" creationId="{7FDA5B10-A4FD-6EDB-7338-8577F4313096}"/>
          </ac:spMkLst>
        </pc:spChg>
      </pc:sldChg>
      <pc:sldChg chg="modSp mod">
        <pc:chgData name="HADHRI Moncef" userId="895ef482-96ff-4dd4-9c74-0dc92131d96c" providerId="ADAL" clId="{05BB7CD5-08BF-4478-9E84-E0BBDCE07E12}" dt="2023-10-20T09:09:11.813" v="5" actId="6549"/>
        <pc:sldMkLst>
          <pc:docMk/>
          <pc:sldMk cId="1361385511" sldId="514"/>
        </pc:sldMkLst>
        <pc:spChg chg="mod">
          <ac:chgData name="HADHRI Moncef" userId="895ef482-96ff-4dd4-9c74-0dc92131d96c" providerId="ADAL" clId="{05BB7CD5-08BF-4478-9E84-E0BBDCE07E12}" dt="2023-10-20T09:09:11.813" v="5" actId="6549"/>
          <ac:spMkLst>
            <pc:docMk/>
            <pc:sldMk cId="1361385511" sldId="514"/>
            <ac:spMk id="3" creationId="{D2E8EC0F-6A87-33E7-97D5-239DF416A6A3}"/>
          </ac:spMkLst>
        </pc:spChg>
      </pc:sldChg>
      <pc:sldChg chg="modSp mod">
        <pc:chgData name="HADHRI Moncef" userId="895ef482-96ff-4dd4-9c74-0dc92131d96c" providerId="ADAL" clId="{05BB7CD5-08BF-4478-9E84-E0BBDCE07E12}" dt="2023-10-20T09:08:57.130" v="1" actId="6549"/>
        <pc:sldMkLst>
          <pc:docMk/>
          <pc:sldMk cId="3458925768" sldId="543"/>
        </pc:sldMkLst>
        <pc:spChg chg="mod">
          <ac:chgData name="HADHRI Moncef" userId="895ef482-96ff-4dd4-9c74-0dc92131d96c" providerId="ADAL" clId="{05BB7CD5-08BF-4478-9E84-E0BBDCE07E12}" dt="2023-10-20T09:08:57.130" v="1" actId="6549"/>
          <ac:spMkLst>
            <pc:docMk/>
            <pc:sldMk cId="3458925768" sldId="543"/>
            <ac:spMk id="3" creationId="{5AA1846D-CC00-8EF7-4C54-6373EEA133A7}"/>
          </ac:spMkLst>
        </pc:spChg>
      </pc:sldChg>
      <pc:sldChg chg="addSp modSp">
        <pc:chgData name="HADHRI Moncef" userId="895ef482-96ff-4dd4-9c74-0dc92131d96c" providerId="ADAL" clId="{05BB7CD5-08BF-4478-9E84-E0BBDCE07E12}" dt="2023-10-20T09:11:28.739" v="82"/>
        <pc:sldMkLst>
          <pc:docMk/>
          <pc:sldMk cId="2969974098" sldId="546"/>
        </pc:sldMkLst>
        <pc:spChg chg="add mod">
          <ac:chgData name="HADHRI Moncef" userId="895ef482-96ff-4dd4-9c74-0dc92131d96c" providerId="ADAL" clId="{05BB7CD5-08BF-4478-9E84-E0BBDCE07E12}" dt="2023-10-20T09:11:28.739" v="82"/>
          <ac:spMkLst>
            <pc:docMk/>
            <pc:sldMk cId="2969974098" sldId="546"/>
            <ac:spMk id="2" creationId="{80BB2F09-2BD0-9053-1E25-3912864E7C43}"/>
          </ac:spMkLst>
        </pc:spChg>
      </pc:sldChg>
      <pc:sldChg chg="addSp modSp">
        <pc:chgData name="HADHRI Moncef" userId="895ef482-96ff-4dd4-9c74-0dc92131d96c" providerId="ADAL" clId="{05BB7CD5-08BF-4478-9E84-E0BBDCE07E12}" dt="2023-10-20T09:11:21.201" v="77"/>
        <pc:sldMkLst>
          <pc:docMk/>
          <pc:sldMk cId="4149952134" sldId="547"/>
        </pc:sldMkLst>
        <pc:spChg chg="add mod">
          <ac:chgData name="HADHRI Moncef" userId="895ef482-96ff-4dd4-9c74-0dc92131d96c" providerId="ADAL" clId="{05BB7CD5-08BF-4478-9E84-E0BBDCE07E12}" dt="2023-10-20T09:11:21.201" v="77"/>
          <ac:spMkLst>
            <pc:docMk/>
            <pc:sldMk cId="4149952134" sldId="547"/>
            <ac:spMk id="3" creationId="{08BBB768-B915-1227-2439-1DE888F502DE}"/>
          </ac:spMkLst>
        </pc:spChg>
      </pc:sldChg>
      <pc:sldChg chg="addSp modSp">
        <pc:chgData name="HADHRI Moncef" userId="895ef482-96ff-4dd4-9c74-0dc92131d96c" providerId="ADAL" clId="{05BB7CD5-08BF-4478-9E84-E0BBDCE07E12}" dt="2023-10-20T09:11:37.625" v="84"/>
        <pc:sldMkLst>
          <pc:docMk/>
          <pc:sldMk cId="2657724479" sldId="548"/>
        </pc:sldMkLst>
        <pc:spChg chg="add mod">
          <ac:chgData name="HADHRI Moncef" userId="895ef482-96ff-4dd4-9c74-0dc92131d96c" providerId="ADAL" clId="{05BB7CD5-08BF-4478-9E84-E0BBDCE07E12}" dt="2023-10-20T09:11:37.625" v="84"/>
          <ac:spMkLst>
            <pc:docMk/>
            <pc:sldMk cId="2657724479" sldId="548"/>
            <ac:spMk id="2" creationId="{81DE72EC-6C10-AA8A-61AB-056F756AA8DB}"/>
          </ac:spMkLst>
        </pc:spChg>
      </pc:sldChg>
      <pc:sldChg chg="addSp modSp">
        <pc:chgData name="HADHRI Moncef" userId="895ef482-96ff-4dd4-9c74-0dc92131d96c" providerId="ADAL" clId="{05BB7CD5-08BF-4478-9E84-E0BBDCE07E12}" dt="2023-10-20T09:11:25.457" v="80"/>
        <pc:sldMkLst>
          <pc:docMk/>
          <pc:sldMk cId="4068901997" sldId="549"/>
        </pc:sldMkLst>
        <pc:spChg chg="add mod">
          <ac:chgData name="HADHRI Moncef" userId="895ef482-96ff-4dd4-9c74-0dc92131d96c" providerId="ADAL" clId="{05BB7CD5-08BF-4478-9E84-E0BBDCE07E12}" dt="2023-10-20T09:11:25.457" v="80"/>
          <ac:spMkLst>
            <pc:docMk/>
            <pc:sldMk cId="4068901997" sldId="549"/>
            <ac:spMk id="2" creationId="{C395BA62-477E-2169-951C-4D7D590809DD}"/>
          </ac:spMkLst>
        </pc:spChg>
      </pc:sldChg>
      <pc:sldChg chg="modSp mod">
        <pc:chgData name="HADHRI Moncef" userId="895ef482-96ff-4dd4-9c74-0dc92131d96c" providerId="ADAL" clId="{05BB7CD5-08BF-4478-9E84-E0BBDCE07E12}" dt="2023-10-20T09:08:59.548" v="2" actId="6549"/>
        <pc:sldMkLst>
          <pc:docMk/>
          <pc:sldMk cId="2818283143" sldId="2134805402"/>
        </pc:sldMkLst>
        <pc:spChg chg="mod">
          <ac:chgData name="HADHRI Moncef" userId="895ef482-96ff-4dd4-9c74-0dc92131d96c" providerId="ADAL" clId="{05BB7CD5-08BF-4478-9E84-E0BBDCE07E12}" dt="2023-10-20T09:08:59.548" v="2" actId="6549"/>
          <ac:spMkLst>
            <pc:docMk/>
            <pc:sldMk cId="2818283143" sldId="2134805402"/>
            <ac:spMk id="3" creationId="{31B7AEAD-D6B4-052D-0C7C-D125DA370AC8}"/>
          </ac:spMkLst>
        </pc:spChg>
      </pc:sldChg>
      <pc:sldChg chg="modSp mod">
        <pc:chgData name="HADHRI Moncef" userId="895ef482-96ff-4dd4-9c74-0dc92131d96c" providerId="ADAL" clId="{05BB7CD5-08BF-4478-9E84-E0BBDCE07E12}" dt="2023-10-20T09:09:04.904" v="3" actId="6549"/>
        <pc:sldMkLst>
          <pc:docMk/>
          <pc:sldMk cId="2844338126" sldId="2134805403"/>
        </pc:sldMkLst>
        <pc:spChg chg="mod">
          <ac:chgData name="HADHRI Moncef" userId="895ef482-96ff-4dd4-9c74-0dc92131d96c" providerId="ADAL" clId="{05BB7CD5-08BF-4478-9E84-E0BBDCE07E12}" dt="2023-10-20T09:09:04.904" v="3" actId="6549"/>
          <ac:spMkLst>
            <pc:docMk/>
            <pc:sldMk cId="2844338126" sldId="2134805403"/>
            <ac:spMk id="3" creationId="{667ED9DC-734A-0FBF-96A9-B373C9F85D7C}"/>
          </ac:spMkLst>
        </pc:spChg>
      </pc:sldChg>
      <pc:sldChg chg="addSp delSp modSp mod">
        <pc:chgData name="HADHRI Moncef" userId="895ef482-96ff-4dd4-9c74-0dc92131d96c" providerId="ADAL" clId="{05BB7CD5-08BF-4478-9E84-E0BBDCE07E12}" dt="2023-10-20T09:11:07.019" v="75" actId="14100"/>
        <pc:sldMkLst>
          <pc:docMk/>
          <pc:sldMk cId="579598447" sldId="2134805417"/>
        </pc:sldMkLst>
        <pc:spChg chg="add del">
          <ac:chgData name="HADHRI Moncef" userId="895ef482-96ff-4dd4-9c74-0dc92131d96c" providerId="ADAL" clId="{05BB7CD5-08BF-4478-9E84-E0BBDCE07E12}" dt="2023-10-20T09:10:16.762" v="7" actId="22"/>
          <ac:spMkLst>
            <pc:docMk/>
            <pc:sldMk cId="579598447" sldId="2134805417"/>
            <ac:spMk id="4" creationId="{5414E8AD-63A7-0D15-2E05-1D04FA839304}"/>
          </ac:spMkLst>
        </pc:spChg>
        <pc:spChg chg="add del mod">
          <ac:chgData name="HADHRI Moncef" userId="895ef482-96ff-4dd4-9c74-0dc92131d96c" providerId="ADAL" clId="{05BB7CD5-08BF-4478-9E84-E0BBDCE07E12}" dt="2023-10-20T09:10:23.356" v="11" actId="22"/>
          <ac:spMkLst>
            <pc:docMk/>
            <pc:sldMk cId="579598447" sldId="2134805417"/>
            <ac:spMk id="6" creationId="{39428B69-E400-64F7-0547-997A7EF43DEB}"/>
          </ac:spMkLst>
        </pc:spChg>
        <pc:spChg chg="add mod">
          <ac:chgData name="HADHRI Moncef" userId="895ef482-96ff-4dd4-9c74-0dc92131d96c" providerId="ADAL" clId="{05BB7CD5-08BF-4478-9E84-E0BBDCE07E12}" dt="2023-10-20T09:11:07.019" v="75" actId="14100"/>
          <ac:spMkLst>
            <pc:docMk/>
            <pc:sldMk cId="579598447" sldId="2134805417"/>
            <ac:spMk id="8" creationId="{66C61C33-E5F8-DC58-52B2-4EEABD1646DC}"/>
          </ac:spMkLst>
        </pc:spChg>
      </pc:sldChg>
    </pc:docChg>
  </pc:docChgLst>
  <pc:docChgLst>
    <pc:chgData name="Moncef HADHRI" userId="895ef482-96ff-4dd4-9c74-0dc92131d96c" providerId="ADAL" clId="{F11B17EA-5B55-40F5-B7B2-2B6278F1A95C}"/>
    <pc:docChg chg="custSel modSld">
      <pc:chgData name="Moncef HADHRI" userId="895ef482-96ff-4dd4-9c74-0dc92131d96c" providerId="ADAL" clId="{F11B17EA-5B55-40F5-B7B2-2B6278F1A95C}" dt="2022-12-06T11:03:25.740" v="33" actId="1076"/>
      <pc:docMkLst>
        <pc:docMk/>
      </pc:docMkLst>
      <pc:sldChg chg="delSp modSp mod">
        <pc:chgData name="Moncef HADHRI" userId="895ef482-96ff-4dd4-9c74-0dc92131d96c" providerId="ADAL" clId="{F11B17EA-5B55-40F5-B7B2-2B6278F1A95C}" dt="2022-12-06T10:20:33.212" v="2" actId="1076"/>
        <pc:sldMkLst>
          <pc:docMk/>
          <pc:sldMk cId="3683067118" sldId="318"/>
        </pc:sldMkLst>
        <pc:picChg chg="del">
          <ac:chgData name="Moncef HADHRI" userId="895ef482-96ff-4dd4-9c74-0dc92131d96c" providerId="ADAL" clId="{F11B17EA-5B55-40F5-B7B2-2B6278F1A95C}" dt="2022-12-06T10:20:23.121" v="0" actId="478"/>
          <ac:picMkLst>
            <pc:docMk/>
            <pc:sldMk cId="3683067118" sldId="318"/>
            <ac:picMk id="3" creationId="{5EE3A711-41C6-4B6F-95F0-ECB24C3CEA79}"/>
          </ac:picMkLst>
        </pc:picChg>
        <pc:picChg chg="mod">
          <ac:chgData name="Moncef HADHRI" userId="895ef482-96ff-4dd4-9c74-0dc92131d96c" providerId="ADAL" clId="{F11B17EA-5B55-40F5-B7B2-2B6278F1A95C}" dt="2022-12-06T10:20:33.212" v="2" actId="1076"/>
          <ac:picMkLst>
            <pc:docMk/>
            <pc:sldMk cId="3683067118" sldId="318"/>
            <ac:picMk id="5" creationId="{519DAD29-07A1-2D7F-587B-0210048ADBF1}"/>
          </ac:picMkLst>
        </pc:picChg>
      </pc:sldChg>
      <pc:sldChg chg="delSp modSp mod">
        <pc:chgData name="Moncef HADHRI" userId="895ef482-96ff-4dd4-9c74-0dc92131d96c" providerId="ADAL" clId="{F11B17EA-5B55-40F5-B7B2-2B6278F1A95C}" dt="2022-12-06T10:24:50.819" v="23" actId="1076"/>
        <pc:sldMkLst>
          <pc:docMk/>
          <pc:sldMk cId="3840129972" sldId="526"/>
        </pc:sldMkLst>
        <pc:spChg chg="mod">
          <ac:chgData name="Moncef HADHRI" userId="895ef482-96ff-4dd4-9c74-0dc92131d96c" providerId="ADAL" clId="{F11B17EA-5B55-40F5-B7B2-2B6278F1A95C}" dt="2022-12-06T10:24:50.819" v="23" actId="1076"/>
          <ac:spMkLst>
            <pc:docMk/>
            <pc:sldMk cId="3840129972" sldId="526"/>
            <ac:spMk id="7" creationId="{00000000-0000-0000-0000-000000000000}"/>
          </ac:spMkLst>
        </pc:spChg>
        <pc:picChg chg="del">
          <ac:chgData name="Moncef HADHRI" userId="895ef482-96ff-4dd4-9c74-0dc92131d96c" providerId="ADAL" clId="{F11B17EA-5B55-40F5-B7B2-2B6278F1A95C}" dt="2022-12-06T10:24:01.279" v="3" actId="478"/>
          <ac:picMkLst>
            <pc:docMk/>
            <pc:sldMk cId="3840129972" sldId="526"/>
            <ac:picMk id="4" creationId="{434F39A1-AD20-40DC-9281-64D18CE3FB0C}"/>
          </ac:picMkLst>
        </pc:picChg>
        <pc:picChg chg="mod">
          <ac:chgData name="Moncef HADHRI" userId="895ef482-96ff-4dd4-9c74-0dc92131d96c" providerId="ADAL" clId="{F11B17EA-5B55-40F5-B7B2-2B6278F1A95C}" dt="2022-12-06T10:24:10.968" v="5" actId="1076"/>
          <ac:picMkLst>
            <pc:docMk/>
            <pc:sldMk cId="3840129972" sldId="526"/>
            <ac:picMk id="5" creationId="{E5BB9D2F-67A8-5364-96F3-A7A8D54860CD}"/>
          </ac:picMkLst>
        </pc:picChg>
      </pc:sldChg>
      <pc:sldChg chg="delSp modSp mod">
        <pc:chgData name="Moncef HADHRI" userId="895ef482-96ff-4dd4-9c74-0dc92131d96c" providerId="ADAL" clId="{F11B17EA-5B55-40F5-B7B2-2B6278F1A95C}" dt="2022-12-06T10:32:35.217" v="27" actId="1076"/>
        <pc:sldMkLst>
          <pc:docMk/>
          <pc:sldMk cId="611791896" sldId="527"/>
        </pc:sldMkLst>
        <pc:spChg chg="mod">
          <ac:chgData name="Moncef HADHRI" userId="895ef482-96ff-4dd4-9c74-0dc92131d96c" providerId="ADAL" clId="{F11B17EA-5B55-40F5-B7B2-2B6278F1A95C}" dt="2022-12-06T10:32:35.217" v="27" actId="1076"/>
          <ac:spMkLst>
            <pc:docMk/>
            <pc:sldMk cId="611791896" sldId="527"/>
            <ac:spMk id="2" creationId="{C08E2B7C-887E-10F7-9253-C8AFD6DD29E3}"/>
          </ac:spMkLst>
        </pc:spChg>
        <pc:picChg chg="del">
          <ac:chgData name="Moncef HADHRI" userId="895ef482-96ff-4dd4-9c74-0dc92131d96c" providerId="ADAL" clId="{F11B17EA-5B55-40F5-B7B2-2B6278F1A95C}" dt="2022-12-06T10:32:25.161" v="24" actId="478"/>
          <ac:picMkLst>
            <pc:docMk/>
            <pc:sldMk cId="611791896" sldId="527"/>
            <ac:picMk id="4" creationId="{88B8E3FA-9361-4A32-A47C-F5372DBC7FE1}"/>
          </ac:picMkLst>
        </pc:picChg>
        <pc:picChg chg="mod">
          <ac:chgData name="Moncef HADHRI" userId="895ef482-96ff-4dd4-9c74-0dc92131d96c" providerId="ADAL" clId="{F11B17EA-5B55-40F5-B7B2-2B6278F1A95C}" dt="2022-12-06T10:32:33.045" v="26" actId="1076"/>
          <ac:picMkLst>
            <pc:docMk/>
            <pc:sldMk cId="611791896" sldId="527"/>
            <ac:picMk id="5" creationId="{CD686AF9-AA70-52C2-5035-E99C84F8D798}"/>
          </ac:picMkLst>
        </pc:picChg>
      </pc:sldChg>
      <pc:sldChg chg="delSp modSp mod">
        <pc:chgData name="Moncef HADHRI" userId="895ef482-96ff-4dd4-9c74-0dc92131d96c" providerId="ADAL" clId="{F11B17EA-5B55-40F5-B7B2-2B6278F1A95C}" dt="2022-12-06T10:46:27.084" v="31" actId="1076"/>
        <pc:sldMkLst>
          <pc:docMk/>
          <pc:sldMk cId="4050344241" sldId="528"/>
        </pc:sldMkLst>
        <pc:picChg chg="del">
          <ac:chgData name="Moncef HADHRI" userId="895ef482-96ff-4dd4-9c74-0dc92131d96c" providerId="ADAL" clId="{F11B17EA-5B55-40F5-B7B2-2B6278F1A95C}" dt="2022-12-06T10:46:18.169" v="28" actId="478"/>
          <ac:picMkLst>
            <pc:docMk/>
            <pc:sldMk cId="4050344241" sldId="528"/>
            <ac:picMk id="4" creationId="{E8D2E8A5-CD27-4731-9B58-9EB7F0440E85}"/>
          </ac:picMkLst>
        </pc:picChg>
        <pc:picChg chg="mod">
          <ac:chgData name="Moncef HADHRI" userId="895ef482-96ff-4dd4-9c74-0dc92131d96c" providerId="ADAL" clId="{F11B17EA-5B55-40F5-B7B2-2B6278F1A95C}" dt="2022-12-06T10:46:27.084" v="31" actId="1076"/>
          <ac:picMkLst>
            <pc:docMk/>
            <pc:sldMk cId="4050344241" sldId="528"/>
            <ac:picMk id="5" creationId="{7C5C25F7-286B-E03F-C3FC-E01C2F34CEF9}"/>
          </ac:picMkLst>
        </pc:picChg>
      </pc:sldChg>
      <pc:sldChg chg="delSp modSp mod">
        <pc:chgData name="Moncef HADHRI" userId="895ef482-96ff-4dd4-9c74-0dc92131d96c" providerId="ADAL" clId="{F11B17EA-5B55-40F5-B7B2-2B6278F1A95C}" dt="2022-12-06T11:03:25.740" v="33" actId="1076"/>
        <pc:sldMkLst>
          <pc:docMk/>
          <pc:sldMk cId="160286315" sldId="533"/>
        </pc:sldMkLst>
        <pc:picChg chg="del">
          <ac:chgData name="Moncef HADHRI" userId="895ef482-96ff-4dd4-9c74-0dc92131d96c" providerId="ADAL" clId="{F11B17EA-5B55-40F5-B7B2-2B6278F1A95C}" dt="2022-12-06T11:03:19.384" v="32" actId="478"/>
          <ac:picMkLst>
            <pc:docMk/>
            <pc:sldMk cId="160286315" sldId="533"/>
            <ac:picMk id="3" creationId="{A18DE7AE-9090-C06A-9794-28DA712F43E3}"/>
          </ac:picMkLst>
        </pc:picChg>
        <pc:picChg chg="mod">
          <ac:chgData name="Moncef HADHRI" userId="895ef482-96ff-4dd4-9c74-0dc92131d96c" providerId="ADAL" clId="{F11B17EA-5B55-40F5-B7B2-2B6278F1A95C}" dt="2022-12-06T11:03:25.740" v="33" actId="1076"/>
          <ac:picMkLst>
            <pc:docMk/>
            <pc:sldMk cId="160286315" sldId="533"/>
            <ac:picMk id="6" creationId="{0C29D9AE-8261-763A-CD5A-FAE05BD05D60}"/>
          </ac:picMkLst>
        </pc:picChg>
      </pc:sldChg>
    </pc:docChg>
  </pc:docChgLst>
  <pc:docChgLst>
    <pc:chgData name="HADHRI Moncef" userId="895ef482-96ff-4dd4-9c74-0dc92131d96c" providerId="ADAL" clId="{4C353EDA-4EC6-4E23-A6A4-159B1E871F2B}"/>
    <pc:docChg chg="custSel modSld">
      <pc:chgData name="HADHRI Moncef" userId="895ef482-96ff-4dd4-9c74-0dc92131d96c" providerId="ADAL" clId="{4C353EDA-4EC6-4E23-A6A4-159B1E871F2B}" dt="2023-10-20T13:48:15" v="680" actId="20577"/>
      <pc:docMkLst>
        <pc:docMk/>
      </pc:docMkLst>
      <pc:sldChg chg="addSp modSp mod">
        <pc:chgData name="HADHRI Moncef" userId="895ef482-96ff-4dd4-9c74-0dc92131d96c" providerId="ADAL" clId="{4C353EDA-4EC6-4E23-A6A4-159B1E871F2B}" dt="2023-10-20T09:33:23.504" v="60" actId="1036"/>
        <pc:sldMkLst>
          <pc:docMk/>
          <pc:sldMk cId="3683067118" sldId="318"/>
        </pc:sldMkLst>
        <pc:spChg chg="add mod">
          <ac:chgData name="HADHRI Moncef" userId="895ef482-96ff-4dd4-9c74-0dc92131d96c" providerId="ADAL" clId="{4C353EDA-4EC6-4E23-A6A4-159B1E871F2B}" dt="2023-10-20T09:33:23.504" v="60" actId="1036"/>
          <ac:spMkLst>
            <pc:docMk/>
            <pc:sldMk cId="3683067118" sldId="318"/>
            <ac:spMk id="2" creationId="{A038971C-F48B-5B42-9097-11C5AFB76766}"/>
          </ac:spMkLst>
        </pc:spChg>
      </pc:sldChg>
      <pc:sldChg chg="modSp mod">
        <pc:chgData name="HADHRI Moncef" userId="895ef482-96ff-4dd4-9c74-0dc92131d96c" providerId="ADAL" clId="{4C353EDA-4EC6-4E23-A6A4-159B1E871F2B}" dt="2023-10-20T13:48:15" v="680" actId="20577"/>
        <pc:sldMkLst>
          <pc:docMk/>
          <pc:sldMk cId="435617243" sldId="371"/>
        </pc:sldMkLst>
        <pc:spChg chg="mod">
          <ac:chgData name="HADHRI Moncef" userId="895ef482-96ff-4dd4-9c74-0dc92131d96c" providerId="ADAL" clId="{4C353EDA-4EC6-4E23-A6A4-159B1E871F2B}" dt="2023-10-20T13:48:15" v="680" actId="20577"/>
          <ac:spMkLst>
            <pc:docMk/>
            <pc:sldMk cId="435617243" sldId="371"/>
            <ac:spMk id="2" creationId="{177418E4-1C13-4BA5-9F99-F8304D2A21D2}"/>
          </ac:spMkLst>
        </pc:spChg>
        <pc:spChg chg="mod">
          <ac:chgData name="HADHRI Moncef" userId="895ef482-96ff-4dd4-9c74-0dc92131d96c" providerId="ADAL" clId="{4C353EDA-4EC6-4E23-A6A4-159B1E871F2B}" dt="2023-10-20T13:46:53.747" v="678" actId="20577"/>
          <ac:spMkLst>
            <pc:docMk/>
            <pc:sldMk cId="435617243" sldId="371"/>
            <ac:spMk id="7" creationId="{66FB7B9E-1E0F-534F-9A68-2F855FF12DFE}"/>
          </ac:spMkLst>
        </pc:spChg>
      </pc:sldChg>
      <pc:sldChg chg="addSp modSp mod">
        <pc:chgData name="HADHRI Moncef" userId="895ef482-96ff-4dd4-9c74-0dc92131d96c" providerId="ADAL" clId="{4C353EDA-4EC6-4E23-A6A4-159B1E871F2B}" dt="2023-10-20T11:25:57.801" v="575" actId="20577"/>
        <pc:sldMkLst>
          <pc:docMk/>
          <pc:sldMk cId="687316141" sldId="375"/>
        </pc:sldMkLst>
        <pc:spChg chg="add mod">
          <ac:chgData name="HADHRI Moncef" userId="895ef482-96ff-4dd4-9c74-0dc92131d96c" providerId="ADAL" clId="{4C353EDA-4EC6-4E23-A6A4-159B1E871F2B}" dt="2023-10-20T11:22:38.035" v="554" actId="1076"/>
          <ac:spMkLst>
            <pc:docMk/>
            <pc:sldMk cId="687316141" sldId="375"/>
            <ac:spMk id="3" creationId="{41DEBFBD-2CDE-2E2A-6A43-7975461A50A6}"/>
          </ac:spMkLst>
        </pc:spChg>
        <pc:spChg chg="mod">
          <ac:chgData name="HADHRI Moncef" userId="895ef482-96ff-4dd4-9c74-0dc92131d96c" providerId="ADAL" clId="{4C353EDA-4EC6-4E23-A6A4-159B1E871F2B}" dt="2023-10-20T11:25:57.801" v="575" actId="20577"/>
          <ac:spMkLst>
            <pc:docMk/>
            <pc:sldMk cId="687316141" sldId="375"/>
            <ac:spMk id="7" creationId="{00000000-0000-0000-0000-000000000000}"/>
          </ac:spMkLst>
        </pc:spChg>
      </pc:sldChg>
      <pc:sldChg chg="addSp modSp mod">
        <pc:chgData name="HADHRI Moncef" userId="895ef482-96ff-4dd4-9c74-0dc92131d96c" providerId="ADAL" clId="{4C353EDA-4EC6-4E23-A6A4-159B1E871F2B}" dt="2023-10-20T09:33:55.592" v="106" actId="1076"/>
        <pc:sldMkLst>
          <pc:docMk/>
          <pc:sldMk cId="3203527764" sldId="378"/>
        </pc:sldMkLst>
        <pc:spChg chg="add mod">
          <ac:chgData name="HADHRI Moncef" userId="895ef482-96ff-4dd4-9c74-0dc92131d96c" providerId="ADAL" clId="{4C353EDA-4EC6-4E23-A6A4-159B1E871F2B}" dt="2023-10-20T09:33:55.592" v="106" actId="1076"/>
          <ac:spMkLst>
            <pc:docMk/>
            <pc:sldMk cId="3203527764" sldId="378"/>
            <ac:spMk id="2" creationId="{8080E06A-5BA8-D408-B78B-6577B15234CB}"/>
          </ac:spMkLst>
        </pc:spChg>
      </pc:sldChg>
      <pc:sldChg chg="addSp modSp mod">
        <pc:chgData name="HADHRI Moncef" userId="895ef482-96ff-4dd4-9c74-0dc92131d96c" providerId="ADAL" clId="{4C353EDA-4EC6-4E23-A6A4-159B1E871F2B}" dt="2023-10-20T10:33:33.861" v="551" actId="20577"/>
        <pc:sldMkLst>
          <pc:docMk/>
          <pc:sldMk cId="3833533132" sldId="403"/>
        </pc:sldMkLst>
        <pc:spChg chg="add mod">
          <ac:chgData name="HADHRI Moncef" userId="895ef482-96ff-4dd4-9c74-0dc92131d96c" providerId="ADAL" clId="{4C353EDA-4EC6-4E23-A6A4-159B1E871F2B}" dt="2023-10-20T09:34:23.159" v="201"/>
          <ac:spMkLst>
            <pc:docMk/>
            <pc:sldMk cId="3833533132" sldId="403"/>
            <ac:spMk id="2" creationId="{3080A3CE-48B5-3408-A76C-1D05882D07ED}"/>
          </ac:spMkLst>
        </pc:spChg>
        <pc:spChg chg="mod">
          <ac:chgData name="HADHRI Moncef" userId="895ef482-96ff-4dd4-9c74-0dc92131d96c" providerId="ADAL" clId="{4C353EDA-4EC6-4E23-A6A4-159B1E871F2B}" dt="2023-10-20T10:33:33.861" v="551" actId="20577"/>
          <ac:spMkLst>
            <pc:docMk/>
            <pc:sldMk cId="3833533132" sldId="403"/>
            <ac:spMk id="7" creationId="{00000000-0000-0000-0000-000000000000}"/>
          </ac:spMkLst>
        </pc:spChg>
      </pc:sldChg>
      <pc:sldChg chg="addSp modSp mod">
        <pc:chgData name="HADHRI Moncef" userId="895ef482-96ff-4dd4-9c74-0dc92131d96c" providerId="ADAL" clId="{4C353EDA-4EC6-4E23-A6A4-159B1E871F2B}" dt="2023-10-20T12:13:40.489" v="614" actId="20577"/>
        <pc:sldMkLst>
          <pc:docMk/>
          <pc:sldMk cId="3416576635" sldId="406"/>
        </pc:sldMkLst>
        <pc:spChg chg="mod">
          <ac:chgData name="HADHRI Moncef" userId="895ef482-96ff-4dd4-9c74-0dc92131d96c" providerId="ADAL" clId="{4C353EDA-4EC6-4E23-A6A4-159B1E871F2B}" dt="2023-10-20T12:13:40.489" v="614" actId="20577"/>
          <ac:spMkLst>
            <pc:docMk/>
            <pc:sldMk cId="3416576635" sldId="406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4:32.302" v="229"/>
          <ac:spMkLst>
            <pc:docMk/>
            <pc:sldMk cId="3416576635" sldId="406"/>
            <ac:spMk id="3" creationId="{60D14175-F01A-1543-C583-4EF2839736C3}"/>
          </ac:spMkLst>
        </pc:spChg>
      </pc:sldChg>
      <pc:sldChg chg="addSp modSp mod">
        <pc:chgData name="HADHRI Moncef" userId="895ef482-96ff-4dd4-9c74-0dc92131d96c" providerId="ADAL" clId="{4C353EDA-4EC6-4E23-A6A4-159B1E871F2B}" dt="2023-10-20T12:15:08.024" v="616" actId="20577"/>
        <pc:sldMkLst>
          <pc:docMk/>
          <pc:sldMk cId="1697530786" sldId="407"/>
        </pc:sldMkLst>
        <pc:spChg chg="mod">
          <ac:chgData name="HADHRI Moncef" userId="895ef482-96ff-4dd4-9c74-0dc92131d96c" providerId="ADAL" clId="{4C353EDA-4EC6-4E23-A6A4-159B1E871F2B}" dt="2023-10-20T12:15:08.024" v="616" actId="20577"/>
          <ac:spMkLst>
            <pc:docMk/>
            <pc:sldMk cId="1697530786" sldId="407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4:33.544" v="230"/>
          <ac:spMkLst>
            <pc:docMk/>
            <pc:sldMk cId="1697530786" sldId="407"/>
            <ac:spMk id="3" creationId="{241892EF-310F-3E16-39B2-0F437E47F78F}"/>
          </ac:spMkLst>
        </pc:spChg>
      </pc:sldChg>
      <pc:sldChg chg="addSp modSp mod">
        <pc:chgData name="HADHRI Moncef" userId="895ef482-96ff-4dd4-9c74-0dc92131d96c" providerId="ADAL" clId="{4C353EDA-4EC6-4E23-A6A4-159B1E871F2B}" dt="2023-10-20T12:16:05.869" v="618" actId="20577"/>
        <pc:sldMkLst>
          <pc:docMk/>
          <pc:sldMk cId="3455755029" sldId="408"/>
        </pc:sldMkLst>
        <pc:spChg chg="mod">
          <ac:chgData name="HADHRI Moncef" userId="895ef482-96ff-4dd4-9c74-0dc92131d96c" providerId="ADAL" clId="{4C353EDA-4EC6-4E23-A6A4-159B1E871F2B}" dt="2023-10-20T12:16:05.869" v="618" actId="20577"/>
          <ac:spMkLst>
            <pc:docMk/>
            <pc:sldMk cId="3455755029" sldId="408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4:36.716" v="235" actId="1036"/>
          <ac:spMkLst>
            <pc:docMk/>
            <pc:sldMk cId="3455755029" sldId="408"/>
            <ac:spMk id="3" creationId="{332219FD-E449-A198-BD8E-4E6AD745314B}"/>
          </ac:spMkLst>
        </pc:spChg>
      </pc:sldChg>
      <pc:sldChg chg="addSp modSp mod">
        <pc:chgData name="HADHRI Moncef" userId="895ef482-96ff-4dd4-9c74-0dc92131d96c" providerId="ADAL" clId="{4C353EDA-4EC6-4E23-A6A4-159B1E871F2B}" dt="2023-10-20T12:18:04.398" v="620" actId="20577"/>
        <pc:sldMkLst>
          <pc:docMk/>
          <pc:sldMk cId="1207978756" sldId="410"/>
        </pc:sldMkLst>
        <pc:spChg chg="mod">
          <ac:chgData name="HADHRI Moncef" userId="895ef482-96ff-4dd4-9c74-0dc92131d96c" providerId="ADAL" clId="{4C353EDA-4EC6-4E23-A6A4-159B1E871F2B}" dt="2023-10-20T12:18:04.398" v="620" actId="20577"/>
          <ac:spMkLst>
            <pc:docMk/>
            <pc:sldMk cId="1207978756" sldId="410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4:38.025" v="236"/>
          <ac:spMkLst>
            <pc:docMk/>
            <pc:sldMk cId="1207978756" sldId="410"/>
            <ac:spMk id="3" creationId="{73EF6E9B-6AF1-49BA-CE4F-63BC09AD2A56}"/>
          </ac:spMkLst>
        </pc:spChg>
      </pc:sldChg>
      <pc:sldChg chg="addSp modSp mod">
        <pc:chgData name="HADHRI Moncef" userId="895ef482-96ff-4dd4-9c74-0dc92131d96c" providerId="ADAL" clId="{4C353EDA-4EC6-4E23-A6A4-159B1E871F2B}" dt="2023-10-20T09:34:41.493" v="254" actId="1036"/>
        <pc:sldMkLst>
          <pc:docMk/>
          <pc:sldMk cId="398650412" sldId="411"/>
        </pc:sldMkLst>
        <pc:spChg chg="add mod">
          <ac:chgData name="HADHRI Moncef" userId="895ef482-96ff-4dd4-9c74-0dc92131d96c" providerId="ADAL" clId="{4C353EDA-4EC6-4E23-A6A4-159B1E871F2B}" dt="2023-10-20T09:34:41.493" v="254" actId="1036"/>
          <ac:spMkLst>
            <pc:docMk/>
            <pc:sldMk cId="398650412" sldId="411"/>
            <ac:spMk id="3" creationId="{9F8CBA15-3DBF-3BFC-618D-E29E617DF213}"/>
          </ac:spMkLst>
        </pc:spChg>
      </pc:sldChg>
      <pc:sldChg chg="addSp modSp mod">
        <pc:chgData name="HADHRI Moncef" userId="895ef482-96ff-4dd4-9c74-0dc92131d96c" providerId="ADAL" clId="{4C353EDA-4EC6-4E23-A6A4-159B1E871F2B}" dt="2023-10-20T09:34:11.642" v="152" actId="1036"/>
        <pc:sldMkLst>
          <pc:docMk/>
          <pc:sldMk cId="1067430973" sldId="415"/>
        </pc:sldMkLst>
        <pc:spChg chg="add mod">
          <ac:chgData name="HADHRI Moncef" userId="895ef482-96ff-4dd4-9c74-0dc92131d96c" providerId="ADAL" clId="{4C353EDA-4EC6-4E23-A6A4-159B1E871F2B}" dt="2023-10-20T09:34:11.642" v="152" actId="1036"/>
          <ac:spMkLst>
            <pc:docMk/>
            <pc:sldMk cId="1067430973" sldId="415"/>
            <ac:spMk id="2" creationId="{A9C55450-2CDA-11DB-DC39-B61ED7DF618C}"/>
          </ac:spMkLst>
        </pc:spChg>
      </pc:sldChg>
      <pc:sldChg chg="addSp modSp mod">
        <pc:chgData name="HADHRI Moncef" userId="895ef482-96ff-4dd4-9c74-0dc92131d96c" providerId="ADAL" clId="{4C353EDA-4EC6-4E23-A6A4-159B1E871F2B}" dt="2023-10-20T13:46:36.879" v="674" actId="20577"/>
        <pc:sldMkLst>
          <pc:docMk/>
          <pc:sldMk cId="1348273151" sldId="432"/>
        </pc:sldMkLst>
        <pc:spChg chg="mod">
          <ac:chgData name="HADHRI Moncef" userId="895ef482-96ff-4dd4-9c74-0dc92131d96c" providerId="ADAL" clId="{4C353EDA-4EC6-4E23-A6A4-159B1E871F2B}" dt="2023-10-20T13:46:36.879" v="674" actId="20577"/>
          <ac:spMkLst>
            <pc:docMk/>
            <pc:sldMk cId="1348273151" sldId="432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5:37.537" v="522" actId="1036"/>
          <ac:spMkLst>
            <pc:docMk/>
            <pc:sldMk cId="1348273151" sldId="432"/>
            <ac:spMk id="3" creationId="{5FAF8CF2-0089-4F1A-4848-D262AC419A45}"/>
          </ac:spMkLst>
        </pc:spChg>
      </pc:sldChg>
      <pc:sldChg chg="addSp modSp mod">
        <pc:chgData name="HADHRI Moncef" userId="895ef482-96ff-4dd4-9c74-0dc92131d96c" providerId="ADAL" clId="{4C353EDA-4EC6-4E23-A6A4-159B1E871F2B}" dt="2023-10-20T09:35:05.791" v="346" actId="1036"/>
        <pc:sldMkLst>
          <pc:docMk/>
          <pc:sldMk cId="2264595889" sldId="478"/>
        </pc:sldMkLst>
        <pc:spChg chg="add mod">
          <ac:chgData name="HADHRI Moncef" userId="895ef482-96ff-4dd4-9c74-0dc92131d96c" providerId="ADAL" clId="{4C353EDA-4EC6-4E23-A6A4-159B1E871F2B}" dt="2023-10-20T09:35:05.791" v="346" actId="1036"/>
          <ac:spMkLst>
            <pc:docMk/>
            <pc:sldMk cId="2264595889" sldId="478"/>
            <ac:spMk id="2" creationId="{B22AEA2A-F88B-BEC7-F9ED-DDB3F3781B68}"/>
          </ac:spMkLst>
        </pc:spChg>
      </pc:sldChg>
      <pc:sldChg chg="addSp modSp mod">
        <pc:chgData name="HADHRI Moncef" userId="895ef482-96ff-4dd4-9c74-0dc92131d96c" providerId="ADAL" clId="{4C353EDA-4EC6-4E23-A6A4-159B1E871F2B}" dt="2023-10-20T13:32:56.338" v="661" actId="20577"/>
        <pc:sldMkLst>
          <pc:docMk/>
          <pc:sldMk cId="1623204966" sldId="481"/>
        </pc:sldMkLst>
        <pc:spChg chg="add mod">
          <ac:chgData name="HADHRI Moncef" userId="895ef482-96ff-4dd4-9c74-0dc92131d96c" providerId="ADAL" clId="{4C353EDA-4EC6-4E23-A6A4-159B1E871F2B}" dt="2023-10-20T09:35:15.311" v="395" actId="1036"/>
          <ac:spMkLst>
            <pc:docMk/>
            <pc:sldMk cId="1623204966" sldId="481"/>
            <ac:spMk id="2" creationId="{8CBE0DBE-EEA5-6FA1-053E-720EFC8CA957}"/>
          </ac:spMkLst>
        </pc:spChg>
        <pc:spChg chg="mod">
          <ac:chgData name="HADHRI Moncef" userId="895ef482-96ff-4dd4-9c74-0dc92131d96c" providerId="ADAL" clId="{4C353EDA-4EC6-4E23-A6A4-159B1E871F2B}" dt="2023-10-20T13:32:56.338" v="661" actId="20577"/>
          <ac:spMkLst>
            <pc:docMk/>
            <pc:sldMk cId="1623204966" sldId="481"/>
            <ac:spMk id="7" creationId="{00000000-0000-0000-0000-000000000000}"/>
          </ac:spMkLst>
        </pc:spChg>
      </pc:sldChg>
      <pc:sldChg chg="addSp delSp modSp mod">
        <pc:chgData name="HADHRI Moncef" userId="895ef482-96ff-4dd4-9c74-0dc92131d96c" providerId="ADAL" clId="{4C353EDA-4EC6-4E23-A6A4-159B1E871F2B}" dt="2023-10-20T13:18:47.290" v="631"/>
        <pc:sldMkLst>
          <pc:docMk/>
          <pc:sldMk cId="3050253954" sldId="483"/>
        </pc:sldMkLst>
        <pc:spChg chg="add del mod">
          <ac:chgData name="HADHRI Moncef" userId="895ef482-96ff-4dd4-9c74-0dc92131d96c" providerId="ADAL" clId="{4C353EDA-4EC6-4E23-A6A4-159B1E871F2B}" dt="2023-10-20T13:18:46.352" v="630" actId="478"/>
          <ac:spMkLst>
            <pc:docMk/>
            <pc:sldMk cId="3050253954" sldId="483"/>
            <ac:spMk id="2" creationId="{5BE34DB6-20CD-2956-8E5A-670EA554562C}"/>
          </ac:spMkLst>
        </pc:spChg>
        <pc:spChg chg="add mod">
          <ac:chgData name="HADHRI Moncef" userId="895ef482-96ff-4dd4-9c74-0dc92131d96c" providerId="ADAL" clId="{4C353EDA-4EC6-4E23-A6A4-159B1E871F2B}" dt="2023-10-20T13:18:47.290" v="631"/>
          <ac:spMkLst>
            <pc:docMk/>
            <pc:sldMk cId="3050253954" sldId="483"/>
            <ac:spMk id="3" creationId="{BC61CFC8-1019-31E9-514A-3FD9B24CCAFD}"/>
          </ac:spMkLst>
        </pc:spChg>
      </pc:sldChg>
      <pc:sldChg chg="addSp modSp mod">
        <pc:chgData name="HADHRI Moncef" userId="895ef482-96ff-4dd4-9c74-0dc92131d96c" providerId="ADAL" clId="{4C353EDA-4EC6-4E23-A6A4-159B1E871F2B}" dt="2023-10-20T11:19:29.337" v="553" actId="20577"/>
        <pc:sldMkLst>
          <pc:docMk/>
          <pc:sldMk cId="3842426781" sldId="498"/>
        </pc:sldMkLst>
        <pc:spChg chg="mod">
          <ac:chgData name="HADHRI Moncef" userId="895ef482-96ff-4dd4-9c74-0dc92131d96c" providerId="ADAL" clId="{4C353EDA-4EC6-4E23-A6A4-159B1E871F2B}" dt="2023-10-20T11:19:29.337" v="553" actId="20577"/>
          <ac:spMkLst>
            <pc:docMk/>
            <pc:sldMk cId="3842426781" sldId="498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3:36.169" v="99" actId="1036"/>
          <ac:spMkLst>
            <pc:docMk/>
            <pc:sldMk cId="3842426781" sldId="498"/>
            <ac:spMk id="3" creationId="{9E07900A-A873-ED96-D249-6A426ADDC770}"/>
          </ac:spMkLst>
        </pc:spChg>
      </pc:sldChg>
      <pc:sldChg chg="addSp modSp mod">
        <pc:chgData name="HADHRI Moncef" userId="895ef482-96ff-4dd4-9c74-0dc92131d96c" providerId="ADAL" clId="{4C353EDA-4EC6-4E23-A6A4-159B1E871F2B}" dt="2023-10-20T13:13:31.962" v="628" actId="20577"/>
        <pc:sldMkLst>
          <pc:docMk/>
          <pc:sldMk cId="3132958973" sldId="502"/>
        </pc:sldMkLst>
        <pc:spChg chg="mod">
          <ac:chgData name="HADHRI Moncef" userId="895ef482-96ff-4dd4-9c74-0dc92131d96c" providerId="ADAL" clId="{4C353EDA-4EC6-4E23-A6A4-159B1E871F2B}" dt="2023-10-20T13:13:31.962" v="628" actId="20577"/>
          <ac:spMkLst>
            <pc:docMk/>
            <pc:sldMk cId="3132958973" sldId="502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4:50.366" v="285"/>
          <ac:spMkLst>
            <pc:docMk/>
            <pc:sldMk cId="3132958973" sldId="502"/>
            <ac:spMk id="3" creationId="{9D64C102-E391-7620-5429-2A1A471E1459}"/>
          </ac:spMkLst>
        </pc:spChg>
      </pc:sldChg>
      <pc:sldChg chg="addSp modSp">
        <pc:chgData name="HADHRI Moncef" userId="895ef482-96ff-4dd4-9c74-0dc92131d96c" providerId="ADAL" clId="{4C353EDA-4EC6-4E23-A6A4-159B1E871F2B}" dt="2023-10-20T09:33:14.708" v="19"/>
        <pc:sldMkLst>
          <pc:docMk/>
          <pc:sldMk cId="4181001190" sldId="506"/>
        </pc:sldMkLst>
        <pc:spChg chg="add mod">
          <ac:chgData name="HADHRI Moncef" userId="895ef482-96ff-4dd4-9c74-0dc92131d96c" providerId="ADAL" clId="{4C353EDA-4EC6-4E23-A6A4-159B1E871F2B}" dt="2023-10-20T09:33:14.708" v="19"/>
          <ac:spMkLst>
            <pc:docMk/>
            <pc:sldMk cId="4181001190" sldId="506"/>
            <ac:spMk id="2" creationId="{0509DDF9-C8D0-0745-7190-F9E9556809CE}"/>
          </ac:spMkLst>
        </pc:spChg>
      </pc:sldChg>
      <pc:sldChg chg="addSp modSp mod">
        <pc:chgData name="HADHRI Moncef" userId="895ef482-96ff-4dd4-9c74-0dc92131d96c" providerId="ADAL" clId="{4C353EDA-4EC6-4E23-A6A4-159B1E871F2B}" dt="2023-10-20T09:34:17.489" v="200" actId="1036"/>
        <pc:sldMkLst>
          <pc:docMk/>
          <pc:sldMk cId="1376106718" sldId="511"/>
        </pc:sldMkLst>
        <pc:spChg chg="add mod">
          <ac:chgData name="HADHRI Moncef" userId="895ef482-96ff-4dd4-9c74-0dc92131d96c" providerId="ADAL" clId="{4C353EDA-4EC6-4E23-A6A4-159B1E871F2B}" dt="2023-10-20T09:34:17.489" v="200" actId="1036"/>
          <ac:spMkLst>
            <pc:docMk/>
            <pc:sldMk cId="1376106718" sldId="511"/>
            <ac:spMk id="2" creationId="{A0EFB820-FADE-104C-25CB-5B8D4B145076}"/>
          </ac:spMkLst>
        </pc:spChg>
      </pc:sldChg>
      <pc:sldChg chg="addSp modSp mod">
        <pc:chgData name="HADHRI Moncef" userId="895ef482-96ff-4dd4-9c74-0dc92131d96c" providerId="ADAL" clId="{4C353EDA-4EC6-4E23-A6A4-159B1E871F2B}" dt="2023-10-20T12:22:01.582" v="626" actId="20577"/>
        <pc:sldMkLst>
          <pc:docMk/>
          <pc:sldMk cId="4037864099" sldId="516"/>
        </pc:sldMkLst>
        <pc:spChg chg="mod">
          <ac:chgData name="HADHRI Moncef" userId="895ef482-96ff-4dd4-9c74-0dc92131d96c" providerId="ADAL" clId="{4C353EDA-4EC6-4E23-A6A4-159B1E871F2B}" dt="2023-10-20T12:22:01.582" v="626" actId="20577"/>
          <ac:spMkLst>
            <pc:docMk/>
            <pc:sldMk cId="4037864099" sldId="516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4:43.142" v="255"/>
          <ac:spMkLst>
            <pc:docMk/>
            <pc:sldMk cId="4037864099" sldId="516"/>
            <ac:spMk id="3" creationId="{4CB1EBB1-D69A-4824-90EF-D91AFA76BB50}"/>
          </ac:spMkLst>
        </pc:spChg>
        <pc:picChg chg="mod">
          <ac:chgData name="HADHRI Moncef" userId="895ef482-96ff-4dd4-9c74-0dc92131d96c" providerId="ADAL" clId="{4C353EDA-4EC6-4E23-A6A4-159B1E871F2B}" dt="2023-10-20T12:19:40.519" v="622" actId="1076"/>
          <ac:picMkLst>
            <pc:docMk/>
            <pc:sldMk cId="4037864099" sldId="516"/>
            <ac:picMk id="4" creationId="{39F4F3F4-948D-ADC6-4BEA-5AA647CA5DE8}"/>
          </ac:picMkLst>
        </pc:picChg>
      </pc:sldChg>
      <pc:sldChg chg="addSp modSp mod">
        <pc:chgData name="HADHRI Moncef" userId="895ef482-96ff-4dd4-9c74-0dc92131d96c" providerId="ADAL" clId="{4C353EDA-4EC6-4E23-A6A4-159B1E871F2B}" dt="2023-10-20T09:34:47.805" v="284" actId="1038"/>
        <pc:sldMkLst>
          <pc:docMk/>
          <pc:sldMk cId="1410458262" sldId="517"/>
        </pc:sldMkLst>
        <pc:spChg chg="add mod">
          <ac:chgData name="HADHRI Moncef" userId="895ef482-96ff-4dd4-9c74-0dc92131d96c" providerId="ADAL" clId="{4C353EDA-4EC6-4E23-A6A4-159B1E871F2B}" dt="2023-10-20T09:34:47.805" v="284" actId="1038"/>
          <ac:spMkLst>
            <pc:docMk/>
            <pc:sldMk cId="1410458262" sldId="517"/>
            <ac:spMk id="3" creationId="{943D68E0-C7BC-02BA-7863-0CDCE9A729A9}"/>
          </ac:spMkLst>
        </pc:spChg>
      </pc:sldChg>
      <pc:sldChg chg="addSp modSp mod">
        <pc:chgData name="HADHRI Moncef" userId="895ef482-96ff-4dd4-9c74-0dc92131d96c" providerId="ADAL" clId="{4C353EDA-4EC6-4E23-A6A4-159B1E871F2B}" dt="2023-10-20T09:35:31.286" v="487" actId="1035"/>
        <pc:sldMkLst>
          <pc:docMk/>
          <pc:sldMk cId="2337721770" sldId="519"/>
        </pc:sldMkLst>
        <pc:spChg chg="add mod">
          <ac:chgData name="HADHRI Moncef" userId="895ef482-96ff-4dd4-9c74-0dc92131d96c" providerId="ADAL" clId="{4C353EDA-4EC6-4E23-A6A4-159B1E871F2B}" dt="2023-10-20T09:35:31.286" v="487" actId="1035"/>
          <ac:spMkLst>
            <pc:docMk/>
            <pc:sldMk cId="2337721770" sldId="519"/>
            <ac:spMk id="3" creationId="{53744D1D-7D63-DBE8-C05C-2E2CB5626EDB}"/>
          </ac:spMkLst>
        </pc:spChg>
      </pc:sldChg>
      <pc:sldChg chg="addSp modSp mod">
        <pc:chgData name="HADHRI Moncef" userId="895ef482-96ff-4dd4-9c74-0dc92131d96c" providerId="ADAL" clId="{4C353EDA-4EC6-4E23-A6A4-159B1E871F2B}" dt="2023-10-20T09:35:34.350" v="502" actId="1036"/>
        <pc:sldMkLst>
          <pc:docMk/>
          <pc:sldMk cId="3995611519" sldId="520"/>
        </pc:sldMkLst>
        <pc:spChg chg="add mod">
          <ac:chgData name="HADHRI Moncef" userId="895ef482-96ff-4dd4-9c74-0dc92131d96c" providerId="ADAL" clId="{4C353EDA-4EC6-4E23-A6A4-159B1E871F2B}" dt="2023-10-20T09:35:34.350" v="502" actId="1036"/>
          <ac:spMkLst>
            <pc:docMk/>
            <pc:sldMk cId="3995611519" sldId="520"/>
            <ac:spMk id="3" creationId="{5A51F78B-1A56-B7B1-4798-688418ADA7FF}"/>
          </ac:spMkLst>
        </pc:spChg>
      </pc:sldChg>
      <pc:sldChg chg="addSp modSp mod">
        <pc:chgData name="HADHRI Moncef" userId="895ef482-96ff-4dd4-9c74-0dc92131d96c" providerId="ADAL" clId="{4C353EDA-4EC6-4E23-A6A4-159B1E871F2B}" dt="2023-10-20T09:38:13.815" v="533" actId="1076"/>
        <pc:sldMkLst>
          <pc:docMk/>
          <pc:sldMk cId="1441936261" sldId="523"/>
        </pc:sldMkLst>
        <pc:spChg chg="add mod">
          <ac:chgData name="HADHRI Moncef" userId="895ef482-96ff-4dd4-9c74-0dc92131d96c" providerId="ADAL" clId="{4C353EDA-4EC6-4E23-A6A4-159B1E871F2B}" dt="2023-10-20T09:38:13.815" v="533" actId="1076"/>
          <ac:spMkLst>
            <pc:docMk/>
            <pc:sldMk cId="1441936261" sldId="523"/>
            <ac:spMk id="2" creationId="{20D1E325-A684-F03C-6EF8-41FBC2FD87DD}"/>
          </ac:spMkLst>
        </pc:spChg>
      </pc:sldChg>
      <pc:sldChg chg="addSp modSp">
        <pc:chgData name="HADHRI Moncef" userId="895ef482-96ff-4dd4-9c74-0dc92131d96c" providerId="ADAL" clId="{4C353EDA-4EC6-4E23-A6A4-159B1E871F2B}" dt="2023-10-20T09:33:12.352" v="18"/>
        <pc:sldMkLst>
          <pc:docMk/>
          <pc:sldMk cId="3652464793" sldId="524"/>
        </pc:sldMkLst>
        <pc:spChg chg="add mod">
          <ac:chgData name="HADHRI Moncef" userId="895ef482-96ff-4dd4-9c74-0dc92131d96c" providerId="ADAL" clId="{4C353EDA-4EC6-4E23-A6A4-159B1E871F2B}" dt="2023-10-20T09:33:12.352" v="18"/>
          <ac:spMkLst>
            <pc:docMk/>
            <pc:sldMk cId="3652464793" sldId="524"/>
            <ac:spMk id="2" creationId="{4EA3EF73-D6A4-CE01-AB8A-668166D065FE}"/>
          </ac:spMkLst>
        </pc:spChg>
      </pc:sldChg>
      <pc:sldChg chg="addSp modSp mod">
        <pc:chgData name="HADHRI Moncef" userId="895ef482-96ff-4dd4-9c74-0dc92131d96c" providerId="ADAL" clId="{4C353EDA-4EC6-4E23-A6A4-159B1E871F2B}" dt="2023-10-20T09:33:18.986" v="37" actId="1036"/>
        <pc:sldMkLst>
          <pc:docMk/>
          <pc:sldMk cId="1797321108" sldId="525"/>
        </pc:sldMkLst>
        <pc:spChg chg="add mod">
          <ac:chgData name="HADHRI Moncef" userId="895ef482-96ff-4dd4-9c74-0dc92131d96c" providerId="ADAL" clId="{4C353EDA-4EC6-4E23-A6A4-159B1E871F2B}" dt="2023-10-20T09:33:18.986" v="37" actId="1036"/>
          <ac:spMkLst>
            <pc:docMk/>
            <pc:sldMk cId="1797321108" sldId="525"/>
            <ac:spMk id="2" creationId="{FDAA1109-9B66-9D27-8982-BFD6BDE2AF0B}"/>
          </ac:spMkLst>
        </pc:spChg>
      </pc:sldChg>
      <pc:sldChg chg="addSp modSp mod">
        <pc:chgData name="HADHRI Moncef" userId="895ef482-96ff-4dd4-9c74-0dc92131d96c" providerId="ADAL" clId="{4C353EDA-4EC6-4E23-A6A4-159B1E871F2B}" dt="2023-10-20T09:33:27.290" v="86" actId="1036"/>
        <pc:sldMkLst>
          <pc:docMk/>
          <pc:sldMk cId="3840129972" sldId="526"/>
        </pc:sldMkLst>
        <pc:spChg chg="add mod">
          <ac:chgData name="HADHRI Moncef" userId="895ef482-96ff-4dd4-9c74-0dc92131d96c" providerId="ADAL" clId="{4C353EDA-4EC6-4E23-A6A4-159B1E871F2B}" dt="2023-10-20T09:33:27.290" v="86" actId="1036"/>
          <ac:spMkLst>
            <pc:docMk/>
            <pc:sldMk cId="3840129972" sldId="526"/>
            <ac:spMk id="2" creationId="{296116A6-07B9-39A2-CFCC-8D6B9B312971}"/>
          </ac:spMkLst>
        </pc:spChg>
      </pc:sldChg>
      <pc:sldChg chg="addSp modSp mod">
        <pc:chgData name="HADHRI Moncef" userId="895ef482-96ff-4dd4-9c74-0dc92131d96c" providerId="ADAL" clId="{4C353EDA-4EC6-4E23-A6A4-159B1E871F2B}" dt="2023-10-20T10:12:25.882" v="549" actId="20577"/>
        <pc:sldMkLst>
          <pc:docMk/>
          <pc:sldMk cId="611791896" sldId="527"/>
        </pc:sldMkLst>
        <pc:spChg chg="add mod">
          <ac:chgData name="HADHRI Moncef" userId="895ef482-96ff-4dd4-9c74-0dc92131d96c" providerId="ADAL" clId="{4C353EDA-4EC6-4E23-A6A4-159B1E871F2B}" dt="2023-10-20T09:33:28.835" v="87"/>
          <ac:spMkLst>
            <pc:docMk/>
            <pc:sldMk cId="611791896" sldId="527"/>
            <ac:spMk id="2" creationId="{B1FA2D9E-1AA8-4797-71B1-BFCA9006B82E}"/>
          </ac:spMkLst>
        </pc:spChg>
        <pc:spChg chg="mod">
          <ac:chgData name="HADHRI Moncef" userId="895ef482-96ff-4dd4-9c74-0dc92131d96c" providerId="ADAL" clId="{4C353EDA-4EC6-4E23-A6A4-159B1E871F2B}" dt="2023-10-20T10:12:25.882" v="549" actId="20577"/>
          <ac:spMkLst>
            <pc:docMk/>
            <pc:sldMk cId="611791896" sldId="527"/>
            <ac:spMk id="7" creationId="{00000000-0000-0000-0000-000000000000}"/>
          </ac:spMkLst>
        </pc:spChg>
      </pc:sldChg>
      <pc:sldChg chg="addSp modSp">
        <pc:chgData name="HADHRI Moncef" userId="895ef482-96ff-4dd4-9c74-0dc92131d96c" providerId="ADAL" clId="{4C353EDA-4EC6-4E23-A6A4-159B1E871F2B}" dt="2023-10-20T09:33:30.484" v="88"/>
        <pc:sldMkLst>
          <pc:docMk/>
          <pc:sldMk cId="4050344241" sldId="528"/>
        </pc:sldMkLst>
        <pc:spChg chg="add mod">
          <ac:chgData name="HADHRI Moncef" userId="895ef482-96ff-4dd4-9c74-0dc92131d96c" providerId="ADAL" clId="{4C353EDA-4EC6-4E23-A6A4-159B1E871F2B}" dt="2023-10-20T09:33:30.484" v="88"/>
          <ac:spMkLst>
            <pc:docMk/>
            <pc:sldMk cId="4050344241" sldId="528"/>
            <ac:spMk id="2" creationId="{B66F0DBF-8764-9D52-80D7-F072001DDC14}"/>
          </ac:spMkLst>
        </pc:spChg>
      </pc:sldChg>
      <pc:sldChg chg="addSp modSp mod">
        <pc:chgData name="HADHRI Moncef" userId="895ef482-96ff-4dd4-9c74-0dc92131d96c" providerId="ADAL" clId="{4C353EDA-4EC6-4E23-A6A4-159B1E871F2B}" dt="2023-10-20T09:33:46.596" v="102" actId="1076"/>
        <pc:sldMkLst>
          <pc:docMk/>
          <pc:sldMk cId="3970380033" sldId="529"/>
        </pc:sldMkLst>
        <pc:spChg chg="add mod">
          <ac:chgData name="HADHRI Moncef" userId="895ef482-96ff-4dd4-9c74-0dc92131d96c" providerId="ADAL" clId="{4C353EDA-4EC6-4E23-A6A4-159B1E871F2B}" dt="2023-10-20T09:33:46.596" v="102" actId="1076"/>
          <ac:spMkLst>
            <pc:docMk/>
            <pc:sldMk cId="3970380033" sldId="529"/>
            <ac:spMk id="2" creationId="{AD981262-E54F-1069-9BDC-F8469FE01E97}"/>
          </ac:spMkLst>
        </pc:spChg>
      </pc:sldChg>
      <pc:sldChg chg="addSp modSp mod">
        <pc:chgData name="HADHRI Moncef" userId="895ef482-96ff-4dd4-9c74-0dc92131d96c" providerId="ADAL" clId="{4C353EDA-4EC6-4E23-A6A4-159B1E871F2B}" dt="2023-10-20T09:33:51.871" v="104" actId="1076"/>
        <pc:sldMkLst>
          <pc:docMk/>
          <pc:sldMk cId="2267228707" sldId="530"/>
        </pc:sldMkLst>
        <pc:spChg chg="add mod">
          <ac:chgData name="HADHRI Moncef" userId="895ef482-96ff-4dd4-9c74-0dc92131d96c" providerId="ADAL" clId="{4C353EDA-4EC6-4E23-A6A4-159B1E871F2B}" dt="2023-10-20T09:33:51.871" v="104" actId="1076"/>
          <ac:spMkLst>
            <pc:docMk/>
            <pc:sldMk cId="2267228707" sldId="530"/>
            <ac:spMk id="2" creationId="{03AAB508-4247-F748-6DD0-3AAB1E4B33A8}"/>
          </ac:spMkLst>
        </pc:spChg>
      </pc:sldChg>
      <pc:sldChg chg="addSp modSp mod">
        <pc:chgData name="HADHRI Moncef" userId="895ef482-96ff-4dd4-9c74-0dc92131d96c" providerId="ADAL" clId="{4C353EDA-4EC6-4E23-A6A4-159B1E871F2B}" dt="2023-10-20T09:34:06.398" v="131" actId="1038"/>
        <pc:sldMkLst>
          <pc:docMk/>
          <pc:sldMk cId="399590516" sldId="531"/>
        </pc:sldMkLst>
        <pc:spChg chg="add mod">
          <ac:chgData name="HADHRI Moncef" userId="895ef482-96ff-4dd4-9c74-0dc92131d96c" providerId="ADAL" clId="{4C353EDA-4EC6-4E23-A6A4-159B1E871F2B}" dt="2023-10-20T09:34:06.398" v="131" actId="1038"/>
          <ac:spMkLst>
            <pc:docMk/>
            <pc:sldMk cId="399590516" sldId="531"/>
            <ac:spMk id="2" creationId="{360781DB-0067-E676-B10A-97E73D9A9EE7}"/>
          </ac:spMkLst>
        </pc:spChg>
      </pc:sldChg>
      <pc:sldChg chg="addSp modSp">
        <pc:chgData name="HADHRI Moncef" userId="895ef482-96ff-4dd4-9c74-0dc92131d96c" providerId="ADAL" clId="{4C353EDA-4EC6-4E23-A6A4-159B1E871F2B}" dt="2023-10-20T09:34:07.811" v="132"/>
        <pc:sldMkLst>
          <pc:docMk/>
          <pc:sldMk cId="1113706935" sldId="532"/>
        </pc:sldMkLst>
        <pc:spChg chg="add mod">
          <ac:chgData name="HADHRI Moncef" userId="895ef482-96ff-4dd4-9c74-0dc92131d96c" providerId="ADAL" clId="{4C353EDA-4EC6-4E23-A6A4-159B1E871F2B}" dt="2023-10-20T09:34:07.811" v="132"/>
          <ac:spMkLst>
            <pc:docMk/>
            <pc:sldMk cId="1113706935" sldId="532"/>
            <ac:spMk id="2" creationId="{DFC4EB7E-3A22-1667-FA12-02ECE34E5357}"/>
          </ac:spMkLst>
        </pc:spChg>
      </pc:sldChg>
      <pc:sldChg chg="addSp modSp mod">
        <pc:chgData name="HADHRI Moncef" userId="895ef482-96ff-4dd4-9c74-0dc92131d96c" providerId="ADAL" clId="{4C353EDA-4EC6-4E23-A6A4-159B1E871F2B}" dt="2023-10-20T09:34:28.831" v="227" actId="1036"/>
        <pc:sldMkLst>
          <pc:docMk/>
          <pc:sldMk cId="160286315" sldId="533"/>
        </pc:sldMkLst>
        <pc:spChg chg="add mod">
          <ac:chgData name="HADHRI Moncef" userId="895ef482-96ff-4dd4-9c74-0dc92131d96c" providerId="ADAL" clId="{4C353EDA-4EC6-4E23-A6A4-159B1E871F2B}" dt="2023-10-20T09:34:28.831" v="227" actId="1036"/>
          <ac:spMkLst>
            <pc:docMk/>
            <pc:sldMk cId="160286315" sldId="533"/>
            <ac:spMk id="3" creationId="{72C5BC7C-2971-4F2A-B8BE-66353152AB8A}"/>
          </ac:spMkLst>
        </pc:spChg>
      </pc:sldChg>
      <pc:sldChg chg="addSp modSp mod">
        <pc:chgData name="HADHRI Moncef" userId="895ef482-96ff-4dd4-9c74-0dc92131d96c" providerId="ADAL" clId="{4C353EDA-4EC6-4E23-A6A4-159B1E871F2B}" dt="2023-10-20T12:11:46.102" v="612" actId="20577"/>
        <pc:sldMkLst>
          <pc:docMk/>
          <pc:sldMk cId="3408810239" sldId="534"/>
        </pc:sldMkLst>
        <pc:spChg chg="mod">
          <ac:chgData name="HADHRI Moncef" userId="895ef482-96ff-4dd4-9c74-0dc92131d96c" providerId="ADAL" clId="{4C353EDA-4EC6-4E23-A6A4-159B1E871F2B}" dt="2023-10-20T12:11:46.102" v="612" actId="20577"/>
          <ac:spMkLst>
            <pc:docMk/>
            <pc:sldMk cId="3408810239" sldId="534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4:30.411" v="228"/>
          <ac:spMkLst>
            <pc:docMk/>
            <pc:sldMk cId="3408810239" sldId="534"/>
            <ac:spMk id="3" creationId="{4D8A289D-24D4-8915-8E9B-EBA2FDC1751E}"/>
          </ac:spMkLst>
        </pc:spChg>
      </pc:sldChg>
      <pc:sldChg chg="addSp modSp mod">
        <pc:chgData name="HADHRI Moncef" userId="895ef482-96ff-4dd4-9c74-0dc92131d96c" providerId="ADAL" clId="{4C353EDA-4EC6-4E23-A6A4-159B1E871F2B}" dt="2023-10-20T09:34:55.406" v="314" actId="1035"/>
        <pc:sldMkLst>
          <pc:docMk/>
          <pc:sldMk cId="1580970320" sldId="536"/>
        </pc:sldMkLst>
        <pc:spChg chg="add mod">
          <ac:chgData name="HADHRI Moncef" userId="895ef482-96ff-4dd4-9c74-0dc92131d96c" providerId="ADAL" clId="{4C353EDA-4EC6-4E23-A6A4-159B1E871F2B}" dt="2023-10-20T09:34:55.406" v="314" actId="1035"/>
          <ac:spMkLst>
            <pc:docMk/>
            <pc:sldMk cId="1580970320" sldId="536"/>
            <ac:spMk id="3" creationId="{D51C3FF4-4C2A-2F89-761D-A1AB2B0A2C32}"/>
          </ac:spMkLst>
        </pc:spChg>
      </pc:sldChg>
      <pc:sldChg chg="addSp modSp mod">
        <pc:chgData name="HADHRI Moncef" userId="895ef482-96ff-4dd4-9c74-0dc92131d96c" providerId="ADAL" clId="{4C353EDA-4EC6-4E23-A6A4-159B1E871F2B}" dt="2023-10-20T09:35:00.904" v="328" actId="1036"/>
        <pc:sldMkLst>
          <pc:docMk/>
          <pc:sldMk cId="3992291547" sldId="537"/>
        </pc:sldMkLst>
        <pc:spChg chg="add mod">
          <ac:chgData name="HADHRI Moncef" userId="895ef482-96ff-4dd4-9c74-0dc92131d96c" providerId="ADAL" clId="{4C353EDA-4EC6-4E23-A6A4-159B1E871F2B}" dt="2023-10-20T09:35:00.904" v="328" actId="1036"/>
          <ac:spMkLst>
            <pc:docMk/>
            <pc:sldMk cId="3992291547" sldId="537"/>
            <ac:spMk id="3" creationId="{90EB1232-9DB5-9879-5A3B-806647318EA8}"/>
          </ac:spMkLst>
        </pc:spChg>
      </pc:sldChg>
      <pc:sldChg chg="addSp modSp">
        <pc:chgData name="HADHRI Moncef" userId="895ef482-96ff-4dd4-9c74-0dc92131d96c" providerId="ADAL" clId="{4C353EDA-4EC6-4E23-A6A4-159B1E871F2B}" dt="2023-10-20T09:35:02.301" v="329"/>
        <pc:sldMkLst>
          <pc:docMk/>
          <pc:sldMk cId="4234730277" sldId="538"/>
        </pc:sldMkLst>
        <pc:spChg chg="add mod">
          <ac:chgData name="HADHRI Moncef" userId="895ef482-96ff-4dd4-9c74-0dc92131d96c" providerId="ADAL" clId="{4C353EDA-4EC6-4E23-A6A4-159B1E871F2B}" dt="2023-10-20T09:35:02.301" v="329"/>
          <ac:spMkLst>
            <pc:docMk/>
            <pc:sldMk cId="4234730277" sldId="538"/>
            <ac:spMk id="3" creationId="{17F0FCB9-8028-96AA-B2D2-776B2907322F}"/>
          </ac:spMkLst>
        </pc:spChg>
      </pc:sldChg>
      <pc:sldChg chg="addSp modSp mod">
        <pc:chgData name="HADHRI Moncef" userId="895ef482-96ff-4dd4-9c74-0dc92131d96c" providerId="ADAL" clId="{4C353EDA-4EC6-4E23-A6A4-159B1E871F2B}" dt="2023-10-20T13:25:23.866" v="633" actId="20577"/>
        <pc:sldMkLst>
          <pc:docMk/>
          <pc:sldMk cId="4125945156" sldId="539"/>
        </pc:sldMkLst>
        <pc:spChg chg="mod">
          <ac:chgData name="HADHRI Moncef" userId="895ef482-96ff-4dd4-9c74-0dc92131d96c" providerId="ADAL" clId="{4C353EDA-4EC6-4E23-A6A4-159B1E871F2B}" dt="2023-10-20T13:25:23.866" v="633" actId="20577"/>
          <ac:spMkLst>
            <pc:docMk/>
            <pc:sldMk cId="4125945156" sldId="539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5:07.093" v="347"/>
          <ac:spMkLst>
            <pc:docMk/>
            <pc:sldMk cId="4125945156" sldId="539"/>
            <ac:spMk id="3" creationId="{50389B55-D1EC-F793-1F63-A35AAF579751}"/>
          </ac:spMkLst>
        </pc:spChg>
      </pc:sldChg>
      <pc:sldChg chg="addSp modSp mod">
        <pc:chgData name="HADHRI Moncef" userId="895ef482-96ff-4dd4-9c74-0dc92131d96c" providerId="ADAL" clId="{4C353EDA-4EC6-4E23-A6A4-159B1E871F2B}" dt="2023-10-20T13:29:48.808" v="654" actId="1076"/>
        <pc:sldMkLst>
          <pc:docMk/>
          <pc:sldMk cId="1691932536" sldId="540"/>
        </pc:sldMkLst>
        <pc:spChg chg="mod">
          <ac:chgData name="HADHRI Moncef" userId="895ef482-96ff-4dd4-9c74-0dc92131d96c" providerId="ADAL" clId="{4C353EDA-4EC6-4E23-A6A4-159B1E871F2B}" dt="2023-10-20T13:28:53.542" v="653" actId="20577"/>
          <ac:spMkLst>
            <pc:docMk/>
            <pc:sldMk cId="1691932536" sldId="540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13:29:48.808" v="654" actId="1076"/>
          <ac:spMkLst>
            <pc:docMk/>
            <pc:sldMk cId="1691932536" sldId="540"/>
            <ac:spMk id="3" creationId="{636BADE2-032B-3B79-D5D2-8FD5510DB2FA}"/>
          </ac:spMkLst>
        </pc:spChg>
      </pc:sldChg>
      <pc:sldChg chg="modSp mod">
        <pc:chgData name="HADHRI Moncef" userId="895ef482-96ff-4dd4-9c74-0dc92131d96c" providerId="ADAL" clId="{4C353EDA-4EC6-4E23-A6A4-159B1E871F2B}" dt="2023-10-20T11:31:31.841" v="610" actId="20577"/>
        <pc:sldMkLst>
          <pc:docMk/>
          <pc:sldMk cId="2066674344" sldId="2134805399"/>
        </pc:sldMkLst>
        <pc:spChg chg="mod">
          <ac:chgData name="HADHRI Moncef" userId="895ef482-96ff-4dd4-9c74-0dc92131d96c" providerId="ADAL" clId="{4C353EDA-4EC6-4E23-A6A4-159B1E871F2B}" dt="2023-10-20T11:31:31.841" v="610" actId="20577"/>
          <ac:spMkLst>
            <pc:docMk/>
            <pc:sldMk cId="2066674344" sldId="2134805399"/>
            <ac:spMk id="2" creationId="{9D442E6A-D5BA-4BAE-84A1-384DE6C05BFB}"/>
          </ac:spMkLst>
        </pc:spChg>
        <pc:spChg chg="mod">
          <ac:chgData name="HADHRI Moncef" userId="895ef482-96ff-4dd4-9c74-0dc92131d96c" providerId="ADAL" clId="{4C353EDA-4EC6-4E23-A6A4-159B1E871F2B}" dt="2023-10-20T11:30:07.726" v="576" actId="1076"/>
          <ac:spMkLst>
            <pc:docMk/>
            <pc:sldMk cId="2066674344" sldId="2134805399"/>
            <ac:spMk id="4" creationId="{3B7D2476-06D5-2AF9-E01F-85B4727395A9}"/>
          </ac:spMkLst>
        </pc:spChg>
      </pc:sldChg>
      <pc:sldChg chg="addSp modSp mod">
        <pc:chgData name="HADHRI Moncef" userId="895ef482-96ff-4dd4-9c74-0dc92131d96c" providerId="ADAL" clId="{4C353EDA-4EC6-4E23-A6A4-159B1E871F2B}" dt="2023-10-20T13:36:48.642" v="664" actId="20577"/>
        <pc:sldMkLst>
          <pc:docMk/>
          <pc:sldMk cId="2170594155" sldId="2134805400"/>
        </pc:sldMkLst>
        <pc:spChg chg="mod">
          <ac:chgData name="HADHRI Moncef" userId="895ef482-96ff-4dd4-9c74-0dc92131d96c" providerId="ADAL" clId="{4C353EDA-4EC6-4E23-A6A4-159B1E871F2B}" dt="2023-10-20T13:36:48.642" v="664" actId="20577"/>
          <ac:spMkLst>
            <pc:docMk/>
            <pc:sldMk cId="2170594155" sldId="2134805400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13:35:51.865" v="662" actId="1076"/>
          <ac:spMkLst>
            <pc:docMk/>
            <pc:sldMk cId="2170594155" sldId="2134805400"/>
            <ac:spMk id="3" creationId="{297B4CA3-13C2-0CBD-03FA-F7115DDA3872}"/>
          </ac:spMkLst>
        </pc:spChg>
      </pc:sldChg>
      <pc:sldChg chg="addSp modSp mod">
        <pc:chgData name="HADHRI Moncef" userId="895ef482-96ff-4dd4-9c74-0dc92131d96c" providerId="ADAL" clId="{4C353EDA-4EC6-4E23-A6A4-159B1E871F2B}" dt="2023-10-20T13:40:22.065" v="670" actId="20577"/>
        <pc:sldMkLst>
          <pc:docMk/>
          <pc:sldMk cId="1990773259" sldId="2134805401"/>
        </pc:sldMkLst>
        <pc:spChg chg="mod">
          <ac:chgData name="HADHRI Moncef" userId="895ef482-96ff-4dd4-9c74-0dc92131d96c" providerId="ADAL" clId="{4C353EDA-4EC6-4E23-A6A4-159B1E871F2B}" dt="2023-10-20T13:40:22.065" v="670" actId="20577"/>
          <ac:spMkLst>
            <pc:docMk/>
            <pc:sldMk cId="1990773259" sldId="2134805401"/>
            <ac:spMk id="2" creationId="{00000000-0000-0000-0000-000000000000}"/>
          </ac:spMkLst>
        </pc:spChg>
        <pc:spChg chg="add mod">
          <ac:chgData name="HADHRI Moncef" userId="895ef482-96ff-4dd4-9c74-0dc92131d96c" providerId="ADAL" clId="{4C353EDA-4EC6-4E23-A6A4-159B1E871F2B}" dt="2023-10-20T09:35:26.479" v="460" actId="1036"/>
          <ac:spMkLst>
            <pc:docMk/>
            <pc:sldMk cId="1990773259" sldId="2134805401"/>
            <ac:spMk id="3" creationId="{55D32F6B-3918-DA7E-C85B-ECE7134BC95A}"/>
          </ac:spMkLst>
        </pc:spChg>
      </pc:sldChg>
    </pc:docChg>
  </pc:docChgLst>
  <pc:docChgLst>
    <pc:chgData name="HADHRI Moncef" userId="895ef482-96ff-4dd4-9c74-0dc92131d96c" providerId="ADAL" clId="{E871B905-E2D9-4651-BB5B-07C41B3890F5}"/>
    <pc:docChg chg="undo custSel addSld delSld modSld">
      <pc:chgData name="HADHRI Moncef" userId="895ef482-96ff-4dd4-9c74-0dc92131d96c" providerId="ADAL" clId="{E871B905-E2D9-4651-BB5B-07C41B3890F5}" dt="2023-02-03T10:00:39.993" v="514" actId="20577"/>
      <pc:docMkLst>
        <pc:docMk/>
      </pc:docMkLst>
      <pc:sldChg chg="addSp delSp modSp mod">
        <pc:chgData name="HADHRI Moncef" userId="895ef482-96ff-4dd4-9c74-0dc92131d96c" providerId="ADAL" clId="{E871B905-E2D9-4651-BB5B-07C41B3890F5}" dt="2023-02-01T08:33:01.366" v="109" actId="14100"/>
        <pc:sldMkLst>
          <pc:docMk/>
          <pc:sldMk cId="3683067118" sldId="318"/>
        </pc:sldMkLst>
        <pc:spChg chg="del">
          <ac:chgData name="HADHRI Moncef" userId="895ef482-96ff-4dd4-9c74-0dc92131d96c" providerId="ADAL" clId="{E871B905-E2D9-4651-BB5B-07C41B3890F5}" dt="2023-02-01T08:32:14.942" v="103" actId="478"/>
          <ac:spMkLst>
            <pc:docMk/>
            <pc:sldMk cId="3683067118" sldId="318"/>
            <ac:spMk id="2" creationId="{146DA0BA-7709-26B3-2247-15DAFC7EEF62}"/>
          </ac:spMkLst>
        </pc:spChg>
        <pc:spChg chg="del">
          <ac:chgData name="HADHRI Moncef" userId="895ef482-96ff-4dd4-9c74-0dc92131d96c" providerId="ADAL" clId="{E871B905-E2D9-4651-BB5B-07C41B3890F5}" dt="2023-02-01T08:32:12.593" v="102" actId="478"/>
          <ac:spMkLst>
            <pc:docMk/>
            <pc:sldMk cId="3683067118" sldId="318"/>
            <ac:spMk id="4" creationId="{09549921-5B3B-4287-4793-34F23EC1C8FD}"/>
          </ac:spMkLst>
        </pc:spChg>
        <pc:picChg chg="del">
          <ac:chgData name="HADHRI Moncef" userId="895ef482-96ff-4dd4-9c74-0dc92131d96c" providerId="ADAL" clId="{E871B905-E2D9-4651-BB5B-07C41B3890F5}" dt="2023-02-01T08:32:11.094" v="101" actId="478"/>
          <ac:picMkLst>
            <pc:docMk/>
            <pc:sldMk cId="3683067118" sldId="318"/>
            <ac:picMk id="5" creationId="{519DAD29-07A1-2D7F-587B-0210048ADBF1}"/>
          </ac:picMkLst>
        </pc:picChg>
        <pc:picChg chg="add mod">
          <ac:chgData name="HADHRI Moncef" userId="895ef482-96ff-4dd4-9c74-0dc92131d96c" providerId="ADAL" clId="{E871B905-E2D9-4651-BB5B-07C41B3890F5}" dt="2023-02-01T08:33:01.366" v="109" actId="14100"/>
          <ac:picMkLst>
            <pc:docMk/>
            <pc:sldMk cId="3683067118" sldId="318"/>
            <ac:picMk id="6" creationId="{89EED9BD-5592-5C96-3B1E-C000BF6EA7BD}"/>
          </ac:picMkLst>
        </pc:picChg>
      </pc:sldChg>
      <pc:sldChg chg="modSp mod">
        <pc:chgData name="HADHRI Moncef" userId="895ef482-96ff-4dd4-9c74-0dc92131d96c" providerId="ADAL" clId="{E871B905-E2D9-4651-BB5B-07C41B3890F5}" dt="2023-02-03T10:00:39.993" v="514" actId="20577"/>
        <pc:sldMkLst>
          <pc:docMk/>
          <pc:sldMk cId="435617243" sldId="371"/>
        </pc:sldMkLst>
        <pc:spChg chg="mod">
          <ac:chgData name="HADHRI Moncef" userId="895ef482-96ff-4dd4-9c74-0dc92131d96c" providerId="ADAL" clId="{E871B905-E2D9-4651-BB5B-07C41B3890F5}" dt="2023-02-03T10:00:39.993" v="514" actId="20577"/>
          <ac:spMkLst>
            <pc:docMk/>
            <pc:sldMk cId="435617243" sldId="371"/>
            <ac:spMk id="7" creationId="{66FB7B9E-1E0F-534F-9A68-2F855FF12DFE}"/>
          </ac:spMkLst>
        </pc:spChg>
      </pc:sldChg>
      <pc:sldChg chg="addSp delSp modSp mod">
        <pc:chgData name="HADHRI Moncef" userId="895ef482-96ff-4dd4-9c74-0dc92131d96c" providerId="ADAL" clId="{E871B905-E2D9-4651-BB5B-07C41B3890F5}" dt="2023-02-01T09:03:20.599" v="148" actId="1076"/>
        <pc:sldMkLst>
          <pc:docMk/>
          <pc:sldMk cId="687316141" sldId="375"/>
        </pc:sldMkLst>
        <pc:spChg chg="del">
          <ac:chgData name="HADHRI Moncef" userId="895ef482-96ff-4dd4-9c74-0dc92131d96c" providerId="ADAL" clId="{E871B905-E2D9-4651-BB5B-07C41B3890F5}" dt="2023-02-01T09:03:19.582" v="147" actId="478"/>
          <ac:spMkLst>
            <pc:docMk/>
            <pc:sldMk cId="687316141" sldId="375"/>
            <ac:spMk id="2" creationId="{593C9C63-B991-6374-5370-2CF306A8AD08}"/>
          </ac:spMkLst>
        </pc:spChg>
        <pc:spChg chg="del">
          <ac:chgData name="HADHRI Moncef" userId="895ef482-96ff-4dd4-9c74-0dc92131d96c" providerId="ADAL" clId="{E871B905-E2D9-4651-BB5B-07C41B3890F5}" dt="2023-02-01T09:03:10.941" v="144" actId="478"/>
          <ac:spMkLst>
            <pc:docMk/>
            <pc:sldMk cId="687316141" sldId="375"/>
            <ac:spMk id="6" creationId="{149E2B99-3B82-161A-43F8-DF88C7C63E76}"/>
          </ac:spMkLst>
        </pc:spChg>
        <pc:picChg chg="add mod">
          <ac:chgData name="HADHRI Moncef" userId="895ef482-96ff-4dd4-9c74-0dc92131d96c" providerId="ADAL" clId="{E871B905-E2D9-4651-BB5B-07C41B3890F5}" dt="2023-02-01T09:03:20.599" v="148" actId="1076"/>
          <ac:picMkLst>
            <pc:docMk/>
            <pc:sldMk cId="687316141" sldId="375"/>
            <ac:picMk id="4" creationId="{28CB37CC-D6B0-958C-DA9D-D9D72D498812}"/>
          </ac:picMkLst>
        </pc:picChg>
        <pc:picChg chg="del">
          <ac:chgData name="HADHRI Moncef" userId="895ef482-96ff-4dd4-9c74-0dc92131d96c" providerId="ADAL" clId="{E871B905-E2D9-4651-BB5B-07C41B3890F5}" dt="2023-02-01T09:03:09.127" v="143" actId="478"/>
          <ac:picMkLst>
            <pc:docMk/>
            <pc:sldMk cId="687316141" sldId="375"/>
            <ac:picMk id="8" creationId="{F53863EB-232C-CEFE-E4F7-A3B154748AB0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10:13.597" v="166" actId="1076"/>
        <pc:sldMkLst>
          <pc:docMk/>
          <pc:sldMk cId="3203527764" sldId="378"/>
        </pc:sldMkLst>
        <pc:spChg chg="del">
          <ac:chgData name="HADHRI Moncef" userId="895ef482-96ff-4dd4-9c74-0dc92131d96c" providerId="ADAL" clId="{E871B905-E2D9-4651-BB5B-07C41B3890F5}" dt="2023-02-01T09:09:46.533" v="163" actId="478"/>
          <ac:spMkLst>
            <pc:docMk/>
            <pc:sldMk cId="3203527764" sldId="378"/>
            <ac:spMk id="2" creationId="{335E7395-9B9D-3A6E-8359-F6F2CB0E96DC}"/>
          </ac:spMkLst>
        </pc:spChg>
        <pc:spChg chg="del">
          <ac:chgData name="HADHRI Moncef" userId="895ef482-96ff-4dd4-9c74-0dc92131d96c" providerId="ADAL" clId="{E871B905-E2D9-4651-BB5B-07C41B3890F5}" dt="2023-02-01T09:09:44.863" v="162" actId="478"/>
          <ac:spMkLst>
            <pc:docMk/>
            <pc:sldMk cId="3203527764" sldId="378"/>
            <ac:spMk id="3" creationId="{7B67594E-2C3E-194B-77A5-019F1481A079}"/>
          </ac:spMkLst>
        </pc:spChg>
        <pc:picChg chg="del">
          <ac:chgData name="HADHRI Moncef" userId="895ef482-96ff-4dd4-9c74-0dc92131d96c" providerId="ADAL" clId="{E871B905-E2D9-4651-BB5B-07C41B3890F5}" dt="2023-02-01T09:10:06.895" v="164" actId="478"/>
          <ac:picMkLst>
            <pc:docMk/>
            <pc:sldMk cId="3203527764" sldId="378"/>
            <ac:picMk id="5" creationId="{1591718D-14D1-5E3B-0C3E-861EE698EBE0}"/>
          </ac:picMkLst>
        </pc:picChg>
        <pc:picChg chg="add mod">
          <ac:chgData name="HADHRI Moncef" userId="895ef482-96ff-4dd4-9c74-0dc92131d96c" providerId="ADAL" clId="{E871B905-E2D9-4651-BB5B-07C41B3890F5}" dt="2023-02-01T09:10:13.597" v="166" actId="1076"/>
          <ac:picMkLst>
            <pc:docMk/>
            <pc:sldMk cId="3203527764" sldId="378"/>
            <ac:picMk id="6" creationId="{F6E55A3E-4520-37F9-704A-71B043D871AD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40:18.291" v="250" actId="1076"/>
        <pc:sldMkLst>
          <pc:docMk/>
          <pc:sldMk cId="3833533132" sldId="403"/>
        </pc:sldMkLst>
        <pc:spChg chg="del">
          <ac:chgData name="HADHRI Moncef" userId="895ef482-96ff-4dd4-9c74-0dc92131d96c" providerId="ADAL" clId="{E871B905-E2D9-4651-BB5B-07C41B3890F5}" dt="2023-02-01T09:40:08.564" v="246" actId="478"/>
          <ac:spMkLst>
            <pc:docMk/>
            <pc:sldMk cId="3833533132" sldId="403"/>
            <ac:spMk id="2" creationId="{D543AF81-4559-1388-B99D-2C123C1F5DA3}"/>
          </ac:spMkLst>
        </pc:spChg>
        <pc:spChg chg="del">
          <ac:chgData name="HADHRI Moncef" userId="895ef482-96ff-4dd4-9c74-0dc92131d96c" providerId="ADAL" clId="{E871B905-E2D9-4651-BB5B-07C41B3890F5}" dt="2023-02-01T09:40:02.404" v="244" actId="478"/>
          <ac:spMkLst>
            <pc:docMk/>
            <pc:sldMk cId="3833533132" sldId="403"/>
            <ac:spMk id="4" creationId="{61CFB34F-D402-CD45-C224-B6BBA1E46B06}"/>
          </ac:spMkLst>
        </pc:spChg>
        <pc:spChg chg="del">
          <ac:chgData name="HADHRI Moncef" userId="895ef482-96ff-4dd4-9c74-0dc92131d96c" providerId="ADAL" clId="{E871B905-E2D9-4651-BB5B-07C41B3890F5}" dt="2023-02-01T09:40:06.466" v="245" actId="478"/>
          <ac:spMkLst>
            <pc:docMk/>
            <pc:sldMk cId="3833533132" sldId="403"/>
            <ac:spMk id="6" creationId="{AA78EA3C-DEE2-2C80-F7BE-79EB81FCA907}"/>
          </ac:spMkLst>
        </pc:spChg>
        <pc:picChg chg="del">
          <ac:chgData name="HADHRI Moncef" userId="895ef482-96ff-4dd4-9c74-0dc92131d96c" providerId="ADAL" clId="{E871B905-E2D9-4651-BB5B-07C41B3890F5}" dt="2023-02-01T09:40:00.469" v="243" actId="478"/>
          <ac:picMkLst>
            <pc:docMk/>
            <pc:sldMk cId="3833533132" sldId="403"/>
            <ac:picMk id="3" creationId="{6E50B3FD-E1EF-F4CF-0A76-1E477F923611}"/>
          </ac:picMkLst>
        </pc:picChg>
        <pc:picChg chg="add mod">
          <ac:chgData name="HADHRI Moncef" userId="895ef482-96ff-4dd4-9c74-0dc92131d96c" providerId="ADAL" clId="{E871B905-E2D9-4651-BB5B-07C41B3890F5}" dt="2023-02-01T09:40:18.291" v="250" actId="1076"/>
          <ac:picMkLst>
            <pc:docMk/>
            <pc:sldMk cId="3833533132" sldId="403"/>
            <ac:picMk id="8" creationId="{B208ACA1-F2FB-9688-78C3-C919E0288063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55:19.394" v="288" actId="1076"/>
        <pc:sldMkLst>
          <pc:docMk/>
          <pc:sldMk cId="3416576635" sldId="406"/>
        </pc:sldMkLst>
        <pc:spChg chg="del">
          <ac:chgData name="HADHRI Moncef" userId="895ef482-96ff-4dd4-9c74-0dc92131d96c" providerId="ADAL" clId="{E871B905-E2D9-4651-BB5B-07C41B3890F5}" dt="2023-02-01T09:55:10.517" v="284" actId="478"/>
          <ac:spMkLst>
            <pc:docMk/>
            <pc:sldMk cId="3416576635" sldId="406"/>
            <ac:spMk id="4" creationId="{558302F9-285B-4FA1-6E64-2E8DF5317BBD}"/>
          </ac:spMkLst>
        </pc:spChg>
        <pc:spChg chg="del">
          <ac:chgData name="HADHRI Moncef" userId="895ef482-96ff-4dd4-9c74-0dc92131d96c" providerId="ADAL" clId="{E871B905-E2D9-4651-BB5B-07C41B3890F5}" dt="2023-02-01T09:55:08.509" v="283" actId="478"/>
          <ac:spMkLst>
            <pc:docMk/>
            <pc:sldMk cId="3416576635" sldId="406"/>
            <ac:spMk id="5" creationId="{9B6FD6C7-5CED-23B6-B9E1-C330284CE5FD}"/>
          </ac:spMkLst>
        </pc:spChg>
        <pc:picChg chg="del">
          <ac:chgData name="HADHRI Moncef" userId="895ef482-96ff-4dd4-9c74-0dc92131d96c" providerId="ADAL" clId="{E871B905-E2D9-4651-BB5B-07C41B3890F5}" dt="2023-02-01T09:54:48.843" v="282" actId="478"/>
          <ac:picMkLst>
            <pc:docMk/>
            <pc:sldMk cId="3416576635" sldId="406"/>
            <ac:picMk id="3" creationId="{B205BD1B-0353-576E-07A3-A1EE68F79B0F}"/>
          </ac:picMkLst>
        </pc:picChg>
        <pc:picChg chg="add mod">
          <ac:chgData name="HADHRI Moncef" userId="895ef482-96ff-4dd4-9c74-0dc92131d96c" providerId="ADAL" clId="{E871B905-E2D9-4651-BB5B-07C41B3890F5}" dt="2023-02-01T09:55:19.394" v="288" actId="1076"/>
          <ac:picMkLst>
            <pc:docMk/>
            <pc:sldMk cId="3416576635" sldId="406"/>
            <ac:picMk id="7" creationId="{0DA6ACE0-48ED-0694-0E43-D964E97870E5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56:07.050" v="295" actId="1076"/>
        <pc:sldMkLst>
          <pc:docMk/>
          <pc:sldMk cId="1697530786" sldId="407"/>
        </pc:sldMkLst>
        <pc:spChg chg="del">
          <ac:chgData name="HADHRI Moncef" userId="895ef482-96ff-4dd4-9c74-0dc92131d96c" providerId="ADAL" clId="{E871B905-E2D9-4651-BB5B-07C41B3890F5}" dt="2023-02-01T09:55:49.540" v="290" actId="478"/>
          <ac:spMkLst>
            <pc:docMk/>
            <pc:sldMk cId="1697530786" sldId="407"/>
            <ac:spMk id="4" creationId="{B65C81E7-ABA6-F748-30B2-9079456F193F}"/>
          </ac:spMkLst>
        </pc:spChg>
        <pc:spChg chg="del">
          <ac:chgData name="HADHRI Moncef" userId="895ef482-96ff-4dd4-9c74-0dc92131d96c" providerId="ADAL" clId="{E871B905-E2D9-4651-BB5B-07C41B3890F5}" dt="2023-02-01T09:55:58.834" v="291" actId="478"/>
          <ac:spMkLst>
            <pc:docMk/>
            <pc:sldMk cId="1697530786" sldId="407"/>
            <ac:spMk id="5" creationId="{0B924DD7-1407-A26F-7881-BD7452804FD6}"/>
          </ac:spMkLst>
        </pc:spChg>
        <pc:picChg chg="del">
          <ac:chgData name="HADHRI Moncef" userId="895ef482-96ff-4dd4-9c74-0dc92131d96c" providerId="ADAL" clId="{E871B905-E2D9-4651-BB5B-07C41B3890F5}" dt="2023-02-01T09:55:47.837" v="289" actId="478"/>
          <ac:picMkLst>
            <pc:docMk/>
            <pc:sldMk cId="1697530786" sldId="407"/>
            <ac:picMk id="3" creationId="{7CFAE489-254B-B193-91A6-73A66891DEBA}"/>
          </ac:picMkLst>
        </pc:picChg>
        <pc:picChg chg="add mod">
          <ac:chgData name="HADHRI Moncef" userId="895ef482-96ff-4dd4-9c74-0dc92131d96c" providerId="ADAL" clId="{E871B905-E2D9-4651-BB5B-07C41B3890F5}" dt="2023-02-01T09:56:07.050" v="295" actId="1076"/>
          <ac:picMkLst>
            <pc:docMk/>
            <pc:sldMk cId="1697530786" sldId="407"/>
            <ac:picMk id="7" creationId="{E8EB504E-375F-56C6-B1C3-6E72249C7729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59:34.818" v="301" actId="1076"/>
        <pc:sldMkLst>
          <pc:docMk/>
          <pc:sldMk cId="3455755029" sldId="408"/>
        </pc:sldMkLst>
        <pc:spChg chg="del">
          <ac:chgData name="HADHRI Moncef" userId="895ef482-96ff-4dd4-9c74-0dc92131d96c" providerId="ADAL" clId="{E871B905-E2D9-4651-BB5B-07C41B3890F5}" dt="2023-02-01T09:59:26.772" v="297" actId="478"/>
          <ac:spMkLst>
            <pc:docMk/>
            <pc:sldMk cId="3455755029" sldId="408"/>
            <ac:spMk id="4" creationId="{0BE518B6-E4E4-007A-2049-111D8CB8968F}"/>
          </ac:spMkLst>
        </pc:spChg>
        <pc:spChg chg="del">
          <ac:chgData name="HADHRI Moncef" userId="895ef482-96ff-4dd4-9c74-0dc92131d96c" providerId="ADAL" clId="{E871B905-E2D9-4651-BB5B-07C41B3890F5}" dt="2023-02-01T09:59:28.772" v="298" actId="478"/>
          <ac:spMkLst>
            <pc:docMk/>
            <pc:sldMk cId="3455755029" sldId="408"/>
            <ac:spMk id="5" creationId="{E3BDA902-66DA-860D-EA02-E8660D7422B3}"/>
          </ac:spMkLst>
        </pc:spChg>
        <pc:picChg chg="del">
          <ac:chgData name="HADHRI Moncef" userId="895ef482-96ff-4dd4-9c74-0dc92131d96c" providerId="ADAL" clId="{E871B905-E2D9-4651-BB5B-07C41B3890F5}" dt="2023-02-01T09:59:24.802" v="296" actId="478"/>
          <ac:picMkLst>
            <pc:docMk/>
            <pc:sldMk cId="3455755029" sldId="408"/>
            <ac:picMk id="3" creationId="{8B6F9D7C-E4A3-1895-D521-F562E95F2EBF}"/>
          </ac:picMkLst>
        </pc:picChg>
        <pc:picChg chg="add mod">
          <ac:chgData name="HADHRI Moncef" userId="895ef482-96ff-4dd4-9c74-0dc92131d96c" providerId="ADAL" clId="{E871B905-E2D9-4651-BB5B-07C41B3890F5}" dt="2023-02-01T09:59:34.818" v="301" actId="1076"/>
          <ac:picMkLst>
            <pc:docMk/>
            <pc:sldMk cId="3455755029" sldId="408"/>
            <ac:picMk id="7" creationId="{77E189AD-071D-85A0-59E7-37FD4958736D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05:19.530" v="307" actId="1076"/>
        <pc:sldMkLst>
          <pc:docMk/>
          <pc:sldMk cId="1207978756" sldId="410"/>
        </pc:sldMkLst>
        <pc:spChg chg="del">
          <ac:chgData name="HADHRI Moncef" userId="895ef482-96ff-4dd4-9c74-0dc92131d96c" providerId="ADAL" clId="{E871B905-E2D9-4651-BB5B-07C41B3890F5}" dt="2023-02-01T10:05:08.428" v="303" actId="478"/>
          <ac:spMkLst>
            <pc:docMk/>
            <pc:sldMk cId="1207978756" sldId="410"/>
            <ac:spMk id="4" creationId="{4F44519A-5C88-B2E8-C508-1E970BB9A249}"/>
          </ac:spMkLst>
        </pc:spChg>
        <pc:spChg chg="del">
          <ac:chgData name="HADHRI Moncef" userId="895ef482-96ff-4dd4-9c74-0dc92131d96c" providerId="ADAL" clId="{E871B905-E2D9-4651-BB5B-07C41B3890F5}" dt="2023-02-01T10:05:11.661" v="304" actId="478"/>
          <ac:spMkLst>
            <pc:docMk/>
            <pc:sldMk cId="1207978756" sldId="410"/>
            <ac:spMk id="5" creationId="{EC1A3AB0-1DF4-DC1A-49DC-41AEC9457813}"/>
          </ac:spMkLst>
        </pc:spChg>
        <pc:picChg chg="del">
          <ac:chgData name="HADHRI Moncef" userId="895ef482-96ff-4dd4-9c74-0dc92131d96c" providerId="ADAL" clId="{E871B905-E2D9-4651-BB5B-07C41B3890F5}" dt="2023-02-01T10:05:06.544" v="302" actId="478"/>
          <ac:picMkLst>
            <pc:docMk/>
            <pc:sldMk cId="1207978756" sldId="410"/>
            <ac:picMk id="3" creationId="{A329A599-5F01-DE00-9376-3055BE33C325}"/>
          </ac:picMkLst>
        </pc:picChg>
        <pc:picChg chg="add mod">
          <ac:chgData name="HADHRI Moncef" userId="895ef482-96ff-4dd4-9c74-0dc92131d96c" providerId="ADAL" clId="{E871B905-E2D9-4651-BB5B-07C41B3890F5}" dt="2023-02-01T10:05:19.530" v="307" actId="1076"/>
          <ac:picMkLst>
            <pc:docMk/>
            <pc:sldMk cId="1207978756" sldId="410"/>
            <ac:picMk id="7" creationId="{D0F34F37-B3A8-9EFE-C0AE-D9ECA18DBC1C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07:02.594" v="312" actId="1076"/>
        <pc:sldMkLst>
          <pc:docMk/>
          <pc:sldMk cId="398650412" sldId="411"/>
        </pc:sldMkLst>
        <pc:spChg chg="del">
          <ac:chgData name="HADHRI Moncef" userId="895ef482-96ff-4dd4-9c74-0dc92131d96c" providerId="ADAL" clId="{E871B905-E2D9-4651-BB5B-07C41B3890F5}" dt="2023-02-01T10:07:01.628" v="311" actId="478"/>
          <ac:spMkLst>
            <pc:docMk/>
            <pc:sldMk cId="398650412" sldId="411"/>
            <ac:spMk id="4" creationId="{82E9FAF6-2F3B-B3A6-C392-74C9B939EFA4}"/>
          </ac:spMkLst>
        </pc:spChg>
        <pc:spChg chg="del">
          <ac:chgData name="HADHRI Moncef" userId="895ef482-96ff-4dd4-9c74-0dc92131d96c" providerId="ADAL" clId="{E871B905-E2D9-4651-BB5B-07C41B3890F5}" dt="2023-02-01T10:06:59.491" v="310" actId="478"/>
          <ac:spMkLst>
            <pc:docMk/>
            <pc:sldMk cId="398650412" sldId="411"/>
            <ac:spMk id="5" creationId="{CBBD66E4-4A18-1A66-2E46-D34B48323581}"/>
          </ac:spMkLst>
        </pc:spChg>
        <pc:picChg chg="del">
          <ac:chgData name="HADHRI Moncef" userId="895ef482-96ff-4dd4-9c74-0dc92131d96c" providerId="ADAL" clId="{E871B905-E2D9-4651-BB5B-07C41B3890F5}" dt="2023-02-01T10:06:53.227" v="308" actId="478"/>
          <ac:picMkLst>
            <pc:docMk/>
            <pc:sldMk cId="398650412" sldId="411"/>
            <ac:picMk id="3" creationId="{B15B606D-96BB-29A7-5E8D-6EFEC543841D}"/>
          </ac:picMkLst>
        </pc:picChg>
        <pc:picChg chg="add mod">
          <ac:chgData name="HADHRI Moncef" userId="895ef482-96ff-4dd4-9c74-0dc92131d96c" providerId="ADAL" clId="{E871B905-E2D9-4651-BB5B-07C41B3890F5}" dt="2023-02-01T10:07:02.594" v="312" actId="1076"/>
          <ac:picMkLst>
            <pc:docMk/>
            <pc:sldMk cId="398650412" sldId="411"/>
            <ac:picMk id="7" creationId="{50B21CAD-B0E9-7949-4A48-BEEAFA7D4312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15:21.982" v="187" actId="1076"/>
        <pc:sldMkLst>
          <pc:docMk/>
          <pc:sldMk cId="1067430973" sldId="415"/>
        </pc:sldMkLst>
        <pc:spChg chg="del">
          <ac:chgData name="HADHRI Moncef" userId="895ef482-96ff-4dd4-9c74-0dc92131d96c" providerId="ADAL" clId="{E871B905-E2D9-4651-BB5B-07C41B3890F5}" dt="2023-02-01T09:15:15.704" v="183" actId="478"/>
          <ac:spMkLst>
            <pc:docMk/>
            <pc:sldMk cId="1067430973" sldId="415"/>
            <ac:spMk id="2" creationId="{3D709525-9BCE-51E0-03F9-9A88904DF938}"/>
          </ac:spMkLst>
        </pc:spChg>
        <pc:spChg chg="del">
          <ac:chgData name="HADHRI Moncef" userId="895ef482-96ff-4dd4-9c74-0dc92131d96c" providerId="ADAL" clId="{E871B905-E2D9-4651-BB5B-07C41B3890F5}" dt="2023-02-01T09:15:17.646" v="184" actId="478"/>
          <ac:spMkLst>
            <pc:docMk/>
            <pc:sldMk cId="1067430973" sldId="415"/>
            <ac:spMk id="4" creationId="{6663A1F4-B5D3-88EF-4ADA-234034FA7E51}"/>
          </ac:spMkLst>
        </pc:spChg>
        <pc:picChg chg="add mod">
          <ac:chgData name="HADHRI Moncef" userId="895ef482-96ff-4dd4-9c74-0dc92131d96c" providerId="ADAL" clId="{E871B905-E2D9-4651-BB5B-07C41B3890F5}" dt="2023-02-01T09:15:21.982" v="187" actId="1076"/>
          <ac:picMkLst>
            <pc:docMk/>
            <pc:sldMk cId="1067430973" sldId="415"/>
            <ac:picMk id="3" creationId="{60ECD3AA-04C8-26CF-48F7-5134DBADFCB5}"/>
          </ac:picMkLst>
        </pc:picChg>
        <pc:picChg chg="del">
          <ac:chgData name="HADHRI Moncef" userId="895ef482-96ff-4dd4-9c74-0dc92131d96c" providerId="ADAL" clId="{E871B905-E2D9-4651-BB5B-07C41B3890F5}" dt="2023-02-01T09:15:12.222" v="181" actId="478"/>
          <ac:picMkLst>
            <pc:docMk/>
            <pc:sldMk cId="1067430973" sldId="415"/>
            <ac:picMk id="5" creationId="{0EADCA81-FCE1-7D32-1320-BF6F39EE1A66}"/>
          </ac:picMkLst>
        </pc:picChg>
      </pc:sldChg>
      <pc:sldChg chg="addSp delSp modSp del mod">
        <pc:chgData name="HADHRI Moncef" userId="895ef482-96ff-4dd4-9c74-0dc92131d96c" providerId="ADAL" clId="{E871B905-E2D9-4651-BB5B-07C41B3890F5}" dt="2023-02-03T09:59:54.276" v="508" actId="47"/>
        <pc:sldMkLst>
          <pc:docMk/>
          <pc:sldMk cId="3486425364" sldId="431"/>
        </pc:sldMkLst>
        <pc:spChg chg="del">
          <ac:chgData name="HADHRI Moncef" userId="895ef482-96ff-4dd4-9c74-0dc92131d96c" providerId="ADAL" clId="{E871B905-E2D9-4651-BB5B-07C41B3890F5}" dt="2023-02-01T10:47:41.391" v="447" actId="478"/>
          <ac:spMkLst>
            <pc:docMk/>
            <pc:sldMk cId="3486425364" sldId="431"/>
            <ac:spMk id="4" creationId="{7D79A774-6B47-0D50-D853-2B1EA90304B6}"/>
          </ac:spMkLst>
        </pc:spChg>
        <pc:spChg chg="del">
          <ac:chgData name="HADHRI Moncef" userId="895ef482-96ff-4dd4-9c74-0dc92131d96c" providerId="ADAL" clId="{E871B905-E2D9-4651-BB5B-07C41B3890F5}" dt="2023-02-01T10:47:44.645" v="448" actId="478"/>
          <ac:spMkLst>
            <pc:docMk/>
            <pc:sldMk cId="3486425364" sldId="431"/>
            <ac:spMk id="5" creationId="{D19373B8-AA29-FFFE-53A1-3420E667B25A}"/>
          </ac:spMkLst>
        </pc:spChg>
        <pc:spChg chg="del">
          <ac:chgData name="HADHRI Moncef" userId="895ef482-96ff-4dd4-9c74-0dc92131d96c" providerId="ADAL" clId="{E871B905-E2D9-4651-BB5B-07C41B3890F5}" dt="2023-02-01T10:47:41.391" v="447" actId="478"/>
          <ac:spMkLst>
            <pc:docMk/>
            <pc:sldMk cId="3486425364" sldId="431"/>
            <ac:spMk id="6" creationId="{EE963497-59D5-EF15-1217-F00CA1980B57}"/>
          </ac:spMkLst>
        </pc:spChg>
        <pc:picChg chg="del">
          <ac:chgData name="HADHRI Moncef" userId="895ef482-96ff-4dd4-9c74-0dc92131d96c" providerId="ADAL" clId="{E871B905-E2D9-4651-BB5B-07C41B3890F5}" dt="2023-02-01T10:47:32.941" v="445" actId="478"/>
          <ac:picMkLst>
            <pc:docMk/>
            <pc:sldMk cId="3486425364" sldId="431"/>
            <ac:picMk id="3" creationId="{9F3648B9-13E2-50DD-3406-E58BC899E3C0}"/>
          </ac:picMkLst>
        </pc:picChg>
        <pc:picChg chg="del">
          <ac:chgData name="HADHRI Moncef" userId="895ef482-96ff-4dd4-9c74-0dc92131d96c" providerId="ADAL" clId="{E871B905-E2D9-4651-BB5B-07C41B3890F5}" dt="2023-02-01T10:47:41.391" v="447" actId="478"/>
          <ac:picMkLst>
            <pc:docMk/>
            <pc:sldMk cId="3486425364" sldId="431"/>
            <ac:picMk id="7" creationId="{0CD772CE-FF67-D0E3-8A55-D1580C36C824}"/>
          </ac:picMkLst>
        </pc:picChg>
        <pc:picChg chg="add mod">
          <ac:chgData name="HADHRI Moncef" userId="895ef482-96ff-4dd4-9c74-0dc92131d96c" providerId="ADAL" clId="{E871B905-E2D9-4651-BB5B-07C41B3890F5}" dt="2023-02-01T13:07:51.378" v="501" actId="1076"/>
          <ac:picMkLst>
            <pc:docMk/>
            <pc:sldMk cId="3486425364" sldId="431"/>
            <ac:picMk id="9" creationId="{D84285F6-FFFD-0A17-2A67-E9DE97E2B2CF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49:26.575" v="457" actId="1076"/>
        <pc:sldMkLst>
          <pc:docMk/>
          <pc:sldMk cId="1348273151" sldId="432"/>
        </pc:sldMkLst>
        <pc:spChg chg="del">
          <ac:chgData name="HADHRI Moncef" userId="895ef482-96ff-4dd4-9c74-0dc92131d96c" providerId="ADAL" clId="{E871B905-E2D9-4651-BB5B-07C41B3890F5}" dt="2023-02-01T10:49:18.839" v="453" actId="478"/>
          <ac:spMkLst>
            <pc:docMk/>
            <pc:sldMk cId="1348273151" sldId="432"/>
            <ac:spMk id="4" creationId="{C457063E-7B9C-6D39-5385-8D49FBEC7BED}"/>
          </ac:spMkLst>
        </pc:spChg>
        <pc:spChg chg="del">
          <ac:chgData name="HADHRI Moncef" userId="895ef482-96ff-4dd4-9c74-0dc92131d96c" providerId="ADAL" clId="{E871B905-E2D9-4651-BB5B-07C41B3890F5}" dt="2023-02-01T10:49:14.951" v="452" actId="478"/>
          <ac:spMkLst>
            <pc:docMk/>
            <pc:sldMk cId="1348273151" sldId="432"/>
            <ac:spMk id="5" creationId="{5A4C94EB-9D76-A5E3-141D-DAFDE0943369}"/>
          </ac:spMkLst>
        </pc:spChg>
        <pc:picChg chg="del">
          <ac:chgData name="HADHRI Moncef" userId="895ef482-96ff-4dd4-9c74-0dc92131d96c" providerId="ADAL" clId="{E871B905-E2D9-4651-BB5B-07C41B3890F5}" dt="2023-02-01T10:49:10.063" v="451" actId="478"/>
          <ac:picMkLst>
            <pc:docMk/>
            <pc:sldMk cId="1348273151" sldId="432"/>
            <ac:picMk id="6" creationId="{78067DD2-35B7-C5EA-4B1B-CEB5966E27DC}"/>
          </ac:picMkLst>
        </pc:picChg>
        <pc:picChg chg="add mod">
          <ac:chgData name="HADHRI Moncef" userId="895ef482-96ff-4dd4-9c74-0dc92131d96c" providerId="ADAL" clId="{E871B905-E2D9-4651-BB5B-07C41B3890F5}" dt="2023-02-01T10:49:26.575" v="457" actId="1076"/>
          <ac:picMkLst>
            <pc:docMk/>
            <pc:sldMk cId="1348273151" sldId="432"/>
            <ac:picMk id="7" creationId="{4D166718-99B6-F42B-A019-0A7CA8235088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37:00.510" v="232" actId="1076"/>
        <pc:sldMkLst>
          <pc:docMk/>
          <pc:sldMk cId="4003818425" sldId="452"/>
        </pc:sldMkLst>
        <pc:spChg chg="del">
          <ac:chgData name="HADHRI Moncef" userId="895ef482-96ff-4dd4-9c74-0dc92131d96c" providerId="ADAL" clId="{E871B905-E2D9-4651-BB5B-07C41B3890F5}" dt="2023-02-01T09:36:55.344" v="230" actId="478"/>
          <ac:spMkLst>
            <pc:docMk/>
            <pc:sldMk cId="4003818425" sldId="452"/>
            <ac:spMk id="2" creationId="{32DCBDAF-5E4C-5DBB-93A7-1800FB798F4D}"/>
          </ac:spMkLst>
        </pc:spChg>
        <pc:spChg chg="del">
          <ac:chgData name="HADHRI Moncef" userId="895ef482-96ff-4dd4-9c74-0dc92131d96c" providerId="ADAL" clId="{E871B905-E2D9-4651-BB5B-07C41B3890F5}" dt="2023-02-01T09:36:34.492" v="227" actId="478"/>
          <ac:spMkLst>
            <pc:docMk/>
            <pc:sldMk cId="4003818425" sldId="452"/>
            <ac:spMk id="3" creationId="{6925F643-3249-6080-B273-44F487AC7D00}"/>
          </ac:spMkLst>
        </pc:spChg>
        <pc:spChg chg="del">
          <ac:chgData name="HADHRI Moncef" userId="895ef482-96ff-4dd4-9c74-0dc92131d96c" providerId="ADAL" clId="{E871B905-E2D9-4651-BB5B-07C41B3890F5}" dt="2023-02-01T09:36:34.492" v="227" actId="478"/>
          <ac:spMkLst>
            <pc:docMk/>
            <pc:sldMk cId="4003818425" sldId="452"/>
            <ac:spMk id="4" creationId="{812DEA2A-08F8-91CC-EFAF-8F84B133F7CA}"/>
          </ac:spMkLst>
        </pc:spChg>
        <pc:spChg chg="del">
          <ac:chgData name="HADHRI Moncef" userId="895ef482-96ff-4dd4-9c74-0dc92131d96c" providerId="ADAL" clId="{E871B905-E2D9-4651-BB5B-07C41B3890F5}" dt="2023-02-01T09:36:34.492" v="227" actId="478"/>
          <ac:spMkLst>
            <pc:docMk/>
            <pc:sldMk cId="4003818425" sldId="452"/>
            <ac:spMk id="7" creationId="{0FFDA998-D8F7-0B62-A310-10022A51A8DD}"/>
          </ac:spMkLst>
        </pc:spChg>
        <pc:picChg chg="del">
          <ac:chgData name="HADHRI Moncef" userId="895ef482-96ff-4dd4-9c74-0dc92131d96c" providerId="ADAL" clId="{E871B905-E2D9-4651-BB5B-07C41B3890F5}" dt="2023-02-01T09:36:36.483" v="228" actId="478"/>
          <ac:picMkLst>
            <pc:docMk/>
            <pc:sldMk cId="4003818425" sldId="452"/>
            <ac:picMk id="6" creationId="{A5829646-C468-8D60-C513-7446A6E2FFCF}"/>
          </ac:picMkLst>
        </pc:picChg>
        <pc:picChg chg="add mod">
          <ac:chgData name="HADHRI Moncef" userId="895ef482-96ff-4dd4-9c74-0dc92131d96c" providerId="ADAL" clId="{E871B905-E2D9-4651-BB5B-07C41B3890F5}" dt="2023-02-01T09:37:00.510" v="232" actId="1076"/>
          <ac:picMkLst>
            <pc:docMk/>
            <pc:sldMk cId="4003818425" sldId="452"/>
            <ac:picMk id="8" creationId="{E105CF44-09CE-BC08-FC7D-FE356C2A23AB}"/>
          </ac:picMkLst>
        </pc:picChg>
      </pc:sldChg>
      <pc:sldChg chg="del">
        <pc:chgData name="HADHRI Moncef" userId="895ef482-96ff-4dd4-9c74-0dc92131d96c" providerId="ADAL" clId="{E871B905-E2D9-4651-BB5B-07C41B3890F5}" dt="2023-01-19T09:08:02.153" v="1" actId="47"/>
        <pc:sldMkLst>
          <pc:docMk/>
          <pc:sldMk cId="2164755639" sldId="460"/>
        </pc:sldMkLst>
      </pc:sldChg>
      <pc:sldChg chg="del">
        <pc:chgData name="HADHRI Moncef" userId="895ef482-96ff-4dd4-9c74-0dc92131d96c" providerId="ADAL" clId="{E871B905-E2D9-4651-BB5B-07C41B3890F5}" dt="2023-01-19T09:08:02.153" v="1" actId="47"/>
        <pc:sldMkLst>
          <pc:docMk/>
          <pc:sldMk cId="2728146820" sldId="463"/>
        </pc:sldMkLst>
      </pc:sldChg>
      <pc:sldChg chg="delSp mod">
        <pc:chgData name="HADHRI Moncef" userId="895ef482-96ff-4dd4-9c74-0dc92131d96c" providerId="ADAL" clId="{E871B905-E2D9-4651-BB5B-07C41B3890F5}" dt="2023-02-01T09:41:20.907" v="251" actId="478"/>
        <pc:sldMkLst>
          <pc:docMk/>
          <pc:sldMk cId="2606274184" sldId="465"/>
        </pc:sldMkLst>
        <pc:spChg chg="del">
          <ac:chgData name="HADHRI Moncef" userId="895ef482-96ff-4dd4-9c74-0dc92131d96c" providerId="ADAL" clId="{E871B905-E2D9-4651-BB5B-07C41B3890F5}" dt="2023-02-01T09:41:20.907" v="251" actId="478"/>
          <ac:spMkLst>
            <pc:docMk/>
            <pc:sldMk cId="2606274184" sldId="465"/>
            <ac:spMk id="2" creationId="{DB4A4331-9D90-BBD1-F8DA-16A72A4FB5EC}"/>
          </ac:spMkLst>
        </pc:spChg>
        <pc:spChg chg="del">
          <ac:chgData name="HADHRI Moncef" userId="895ef482-96ff-4dd4-9c74-0dc92131d96c" providerId="ADAL" clId="{E871B905-E2D9-4651-BB5B-07C41B3890F5}" dt="2023-02-01T09:41:20.907" v="251" actId="478"/>
          <ac:spMkLst>
            <pc:docMk/>
            <pc:sldMk cId="2606274184" sldId="465"/>
            <ac:spMk id="3" creationId="{35A9E333-099B-58AC-7F70-103F727C1904}"/>
          </ac:spMkLst>
        </pc:spChg>
        <pc:spChg chg="del">
          <ac:chgData name="HADHRI Moncef" userId="895ef482-96ff-4dd4-9c74-0dc92131d96c" providerId="ADAL" clId="{E871B905-E2D9-4651-BB5B-07C41B3890F5}" dt="2023-02-01T09:41:20.907" v="251" actId="478"/>
          <ac:spMkLst>
            <pc:docMk/>
            <pc:sldMk cId="2606274184" sldId="465"/>
            <ac:spMk id="4" creationId="{130004F8-295A-174E-9F01-F715ABDE0639}"/>
          </ac:spMkLst>
        </pc:spChg>
        <pc:picChg chg="del">
          <ac:chgData name="HADHRI Moncef" userId="895ef482-96ff-4dd4-9c74-0dc92131d96c" providerId="ADAL" clId="{E871B905-E2D9-4651-BB5B-07C41B3890F5}" dt="2023-02-01T09:41:20.907" v="251" actId="478"/>
          <ac:picMkLst>
            <pc:docMk/>
            <pc:sldMk cId="2606274184" sldId="465"/>
            <ac:picMk id="5" creationId="{7B16A0F7-6C2D-3DBD-C2E7-622E2CF0BB25}"/>
          </ac:picMkLst>
        </pc:picChg>
      </pc:sldChg>
      <pc:sldChg chg="del">
        <pc:chgData name="HADHRI Moncef" userId="895ef482-96ff-4dd4-9c74-0dc92131d96c" providerId="ADAL" clId="{E871B905-E2D9-4651-BB5B-07C41B3890F5}" dt="2023-01-19T09:08:02.153" v="1" actId="47"/>
        <pc:sldMkLst>
          <pc:docMk/>
          <pc:sldMk cId="1254126475" sldId="471"/>
        </pc:sldMkLst>
      </pc:sldChg>
      <pc:sldChg chg="addSp delSp modSp mod">
        <pc:chgData name="HADHRI Moncef" userId="895ef482-96ff-4dd4-9c74-0dc92131d96c" providerId="ADAL" clId="{E871B905-E2D9-4651-BB5B-07C41B3890F5}" dt="2023-02-01T09:18:26.821" v="204" actId="1076"/>
        <pc:sldMkLst>
          <pc:docMk/>
          <pc:sldMk cId="4223220080" sldId="473"/>
        </pc:sldMkLst>
        <pc:spChg chg="del">
          <ac:chgData name="HADHRI Moncef" userId="895ef482-96ff-4dd4-9c74-0dc92131d96c" providerId="ADAL" clId="{E871B905-E2D9-4651-BB5B-07C41B3890F5}" dt="2023-02-01T09:18:20.206" v="201" actId="478"/>
          <ac:spMkLst>
            <pc:docMk/>
            <pc:sldMk cId="4223220080" sldId="473"/>
            <ac:spMk id="2" creationId="{065F4790-A756-9C96-1D44-CC0F2467F270}"/>
          </ac:spMkLst>
        </pc:spChg>
        <pc:spChg chg="del">
          <ac:chgData name="HADHRI Moncef" userId="895ef482-96ff-4dd4-9c74-0dc92131d96c" providerId="ADAL" clId="{E871B905-E2D9-4651-BB5B-07C41B3890F5}" dt="2023-02-01T09:18:16.062" v="200" actId="478"/>
          <ac:spMkLst>
            <pc:docMk/>
            <pc:sldMk cId="4223220080" sldId="473"/>
            <ac:spMk id="3" creationId="{65E663F2-2EE7-F167-1AA5-860EA842FEDE}"/>
          </ac:spMkLst>
        </pc:spChg>
        <pc:picChg chg="add mod">
          <ac:chgData name="HADHRI Moncef" userId="895ef482-96ff-4dd4-9c74-0dc92131d96c" providerId="ADAL" clId="{E871B905-E2D9-4651-BB5B-07C41B3890F5}" dt="2023-02-01T09:18:26.821" v="204" actId="1076"/>
          <ac:picMkLst>
            <pc:docMk/>
            <pc:sldMk cId="4223220080" sldId="473"/>
            <ac:picMk id="5" creationId="{23FA3E36-2757-B6FF-5245-0C1ACD73FB2E}"/>
          </ac:picMkLst>
        </pc:picChg>
        <pc:picChg chg="del">
          <ac:chgData name="HADHRI Moncef" userId="895ef482-96ff-4dd4-9c74-0dc92131d96c" providerId="ADAL" clId="{E871B905-E2D9-4651-BB5B-07C41B3890F5}" dt="2023-02-01T09:18:13.757" v="199" actId="478"/>
          <ac:picMkLst>
            <pc:docMk/>
            <pc:sldMk cId="4223220080" sldId="473"/>
            <ac:picMk id="6" creationId="{33AB1BBA-35F5-0DAF-B870-47E3A9613057}"/>
          </ac:picMkLst>
        </pc:picChg>
      </pc:sldChg>
      <pc:sldChg chg="delSp modSp mod">
        <pc:chgData name="HADHRI Moncef" userId="895ef482-96ff-4dd4-9c74-0dc92131d96c" providerId="ADAL" clId="{E871B905-E2D9-4651-BB5B-07C41B3890F5}" dt="2023-02-01T12:50:34.576" v="499" actId="1076"/>
        <pc:sldMkLst>
          <pc:docMk/>
          <pc:sldMk cId="696988029" sldId="474"/>
        </pc:sldMkLst>
        <pc:spChg chg="del">
          <ac:chgData name="HADHRI Moncef" userId="895ef482-96ff-4dd4-9c74-0dc92131d96c" providerId="ADAL" clId="{E871B905-E2D9-4651-BB5B-07C41B3890F5}" dt="2023-02-01T09:33:22.063" v="218" actId="478"/>
          <ac:spMkLst>
            <pc:docMk/>
            <pc:sldMk cId="696988029" sldId="474"/>
            <ac:spMk id="2" creationId="{754BA74A-13C5-C984-5D53-1ADECC7B8C5C}"/>
          </ac:spMkLst>
        </pc:spChg>
        <pc:spChg chg="del">
          <ac:chgData name="HADHRI Moncef" userId="895ef482-96ff-4dd4-9c74-0dc92131d96c" providerId="ADAL" clId="{E871B905-E2D9-4651-BB5B-07C41B3890F5}" dt="2023-02-01T09:33:18.686" v="216" actId="478"/>
          <ac:spMkLst>
            <pc:docMk/>
            <pc:sldMk cId="696988029" sldId="474"/>
            <ac:spMk id="3" creationId="{8A3084A3-698D-92CB-CC13-B87601D3DD82}"/>
          </ac:spMkLst>
        </pc:spChg>
        <pc:spChg chg="del">
          <ac:chgData name="HADHRI Moncef" userId="895ef482-96ff-4dd4-9c74-0dc92131d96c" providerId="ADAL" clId="{E871B905-E2D9-4651-BB5B-07C41B3890F5}" dt="2023-02-01T09:33:19.942" v="217" actId="478"/>
          <ac:spMkLst>
            <pc:docMk/>
            <pc:sldMk cId="696988029" sldId="474"/>
            <ac:spMk id="4" creationId="{94633764-9AA6-128B-5D3B-020D7FFC9F10}"/>
          </ac:spMkLst>
        </pc:spChg>
        <pc:picChg chg="del">
          <ac:chgData name="HADHRI Moncef" userId="895ef482-96ff-4dd4-9c74-0dc92131d96c" providerId="ADAL" clId="{E871B905-E2D9-4651-BB5B-07C41B3890F5}" dt="2023-02-01T09:33:22.685" v="219" actId="478"/>
          <ac:picMkLst>
            <pc:docMk/>
            <pc:sldMk cId="696988029" sldId="474"/>
            <ac:picMk id="5" creationId="{A1A9FB7E-212F-E941-EF6C-6BC01F3F23F1}"/>
          </ac:picMkLst>
        </pc:picChg>
        <pc:picChg chg="mod">
          <ac:chgData name="HADHRI Moncef" userId="895ef482-96ff-4dd4-9c74-0dc92131d96c" providerId="ADAL" clId="{E871B905-E2D9-4651-BB5B-07C41B3890F5}" dt="2023-02-01T12:50:34.576" v="499" actId="1076"/>
          <ac:picMkLst>
            <pc:docMk/>
            <pc:sldMk cId="696988029" sldId="474"/>
            <ac:picMk id="6" creationId="{5B7CEA75-CFDB-4009-9737-7E53202C2320}"/>
          </ac:picMkLst>
        </pc:picChg>
      </pc:sldChg>
      <pc:sldChg chg="delSp mod">
        <pc:chgData name="HADHRI Moncef" userId="895ef482-96ff-4dd4-9c74-0dc92131d96c" providerId="ADAL" clId="{E871B905-E2D9-4651-BB5B-07C41B3890F5}" dt="2023-02-01T09:33:44.649" v="220" actId="478"/>
        <pc:sldMkLst>
          <pc:docMk/>
          <pc:sldMk cId="1483498060" sldId="475"/>
        </pc:sldMkLst>
        <pc:spChg chg="del">
          <ac:chgData name="HADHRI Moncef" userId="895ef482-96ff-4dd4-9c74-0dc92131d96c" providerId="ADAL" clId="{E871B905-E2D9-4651-BB5B-07C41B3890F5}" dt="2023-02-01T09:33:44.649" v="220" actId="478"/>
          <ac:spMkLst>
            <pc:docMk/>
            <pc:sldMk cId="1483498060" sldId="475"/>
            <ac:spMk id="2" creationId="{20E69590-91E8-BFBA-8B86-3EEB70A2D27E}"/>
          </ac:spMkLst>
        </pc:spChg>
        <pc:spChg chg="del">
          <ac:chgData name="HADHRI Moncef" userId="895ef482-96ff-4dd4-9c74-0dc92131d96c" providerId="ADAL" clId="{E871B905-E2D9-4651-BB5B-07C41B3890F5}" dt="2023-02-01T09:33:44.649" v="220" actId="478"/>
          <ac:spMkLst>
            <pc:docMk/>
            <pc:sldMk cId="1483498060" sldId="475"/>
            <ac:spMk id="3" creationId="{39DF2B4F-AF33-D85A-9671-AFFD2C404745}"/>
          </ac:spMkLst>
        </pc:spChg>
        <pc:spChg chg="del">
          <ac:chgData name="HADHRI Moncef" userId="895ef482-96ff-4dd4-9c74-0dc92131d96c" providerId="ADAL" clId="{E871B905-E2D9-4651-BB5B-07C41B3890F5}" dt="2023-02-01T09:33:44.649" v="220" actId="478"/>
          <ac:spMkLst>
            <pc:docMk/>
            <pc:sldMk cId="1483498060" sldId="475"/>
            <ac:spMk id="4" creationId="{A4BECD68-437C-5FDF-6D6D-BCFCF4ED6C98}"/>
          </ac:spMkLst>
        </pc:spChg>
        <pc:picChg chg="del">
          <ac:chgData name="HADHRI Moncef" userId="895ef482-96ff-4dd4-9c74-0dc92131d96c" providerId="ADAL" clId="{E871B905-E2D9-4651-BB5B-07C41B3890F5}" dt="2023-02-01T09:33:44.649" v="220" actId="478"/>
          <ac:picMkLst>
            <pc:docMk/>
            <pc:sldMk cId="1483498060" sldId="475"/>
            <ac:picMk id="5" creationId="{80B32087-2FFE-F9A6-CA08-63830DAC034C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33:09.520" v="381" actId="1076"/>
        <pc:sldMkLst>
          <pc:docMk/>
          <pc:sldMk cId="2264595889" sldId="478"/>
        </pc:sldMkLst>
        <pc:spChg chg="del">
          <ac:chgData name="HADHRI Moncef" userId="895ef482-96ff-4dd4-9c74-0dc92131d96c" providerId="ADAL" clId="{E871B905-E2D9-4651-BB5B-07C41B3890F5}" dt="2023-02-01T10:32:56.570" v="374" actId="478"/>
          <ac:spMkLst>
            <pc:docMk/>
            <pc:sldMk cId="2264595889" sldId="478"/>
            <ac:spMk id="2" creationId="{D56B194D-12F3-5DB6-94B7-157E45DA90EE}"/>
          </ac:spMkLst>
        </pc:spChg>
        <pc:spChg chg="del">
          <ac:chgData name="HADHRI Moncef" userId="895ef482-96ff-4dd4-9c74-0dc92131d96c" providerId="ADAL" clId="{E871B905-E2D9-4651-BB5B-07C41B3890F5}" dt="2023-02-01T10:32:57.856" v="375" actId="478"/>
          <ac:spMkLst>
            <pc:docMk/>
            <pc:sldMk cId="2264595889" sldId="478"/>
            <ac:spMk id="3" creationId="{5E03C236-650E-6E19-EAFF-F6E3D30AA708}"/>
          </ac:spMkLst>
        </pc:spChg>
        <pc:picChg chg="del">
          <ac:chgData name="HADHRI Moncef" userId="895ef482-96ff-4dd4-9c74-0dc92131d96c" providerId="ADAL" clId="{E871B905-E2D9-4651-BB5B-07C41B3890F5}" dt="2023-02-01T10:32:52.662" v="373" actId="478"/>
          <ac:picMkLst>
            <pc:docMk/>
            <pc:sldMk cId="2264595889" sldId="478"/>
            <ac:picMk id="4" creationId="{43CF5A05-78FD-2D49-0011-28FACFAC5054}"/>
          </ac:picMkLst>
        </pc:picChg>
        <pc:picChg chg="add mod">
          <ac:chgData name="HADHRI Moncef" userId="895ef482-96ff-4dd4-9c74-0dc92131d96c" providerId="ADAL" clId="{E871B905-E2D9-4651-BB5B-07C41B3890F5}" dt="2023-02-01T10:33:09.520" v="381" actId="1076"/>
          <ac:picMkLst>
            <pc:docMk/>
            <pc:sldMk cId="2264595889" sldId="478"/>
            <ac:picMk id="6" creationId="{FDF612BB-7365-FA7F-5C93-DA4AC8A5157E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38:00.699" v="405" actId="1076"/>
        <pc:sldMkLst>
          <pc:docMk/>
          <pc:sldMk cId="1623204966" sldId="481"/>
        </pc:sldMkLst>
        <pc:spChg chg="del">
          <ac:chgData name="HADHRI Moncef" userId="895ef482-96ff-4dd4-9c74-0dc92131d96c" providerId="ADAL" clId="{E871B905-E2D9-4651-BB5B-07C41B3890F5}" dt="2023-02-01T10:36:51.526" v="400" actId="478"/>
          <ac:spMkLst>
            <pc:docMk/>
            <pc:sldMk cId="1623204966" sldId="481"/>
            <ac:spMk id="2" creationId="{3EC5A47A-8599-A39A-7D49-9F646DFE70D6}"/>
          </ac:spMkLst>
        </pc:spChg>
        <pc:spChg chg="del mod">
          <ac:chgData name="HADHRI Moncef" userId="895ef482-96ff-4dd4-9c74-0dc92131d96c" providerId="ADAL" clId="{E871B905-E2D9-4651-BB5B-07C41B3890F5}" dt="2023-02-01T10:36:51.526" v="400" actId="478"/>
          <ac:spMkLst>
            <pc:docMk/>
            <pc:sldMk cId="1623204966" sldId="481"/>
            <ac:spMk id="3" creationId="{49C2295F-8FEC-0625-8FFD-F5AF5AEAF9EA}"/>
          </ac:spMkLst>
        </pc:spChg>
        <pc:picChg chg="del">
          <ac:chgData name="HADHRI Moncef" userId="895ef482-96ff-4dd4-9c74-0dc92131d96c" providerId="ADAL" clId="{E871B905-E2D9-4651-BB5B-07C41B3890F5}" dt="2023-02-01T10:36:45.830" v="398" actId="478"/>
          <ac:picMkLst>
            <pc:docMk/>
            <pc:sldMk cId="1623204966" sldId="481"/>
            <ac:picMk id="4" creationId="{0C704033-E281-5D55-D212-2465DBD16A7E}"/>
          </ac:picMkLst>
        </pc:picChg>
        <pc:picChg chg="add mod">
          <ac:chgData name="HADHRI Moncef" userId="895ef482-96ff-4dd4-9c74-0dc92131d96c" providerId="ADAL" clId="{E871B905-E2D9-4651-BB5B-07C41B3890F5}" dt="2023-02-01T10:38:00.699" v="405" actId="1076"/>
          <ac:picMkLst>
            <pc:docMk/>
            <pc:sldMk cId="1623204966" sldId="481"/>
            <ac:picMk id="6" creationId="{3830CFFF-888C-262E-9E8C-5948D364AF5C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28:22.657" v="352" actId="14100"/>
        <pc:sldMkLst>
          <pc:docMk/>
          <pc:sldMk cId="3050253954" sldId="483"/>
        </pc:sldMkLst>
        <pc:spChg chg="del">
          <ac:chgData name="HADHRI Moncef" userId="895ef482-96ff-4dd4-9c74-0dc92131d96c" providerId="ADAL" clId="{E871B905-E2D9-4651-BB5B-07C41B3890F5}" dt="2023-02-01T10:28:05.854" v="344" actId="478"/>
          <ac:spMkLst>
            <pc:docMk/>
            <pc:sldMk cId="3050253954" sldId="483"/>
            <ac:spMk id="2" creationId="{6347B9C4-59B3-302F-25D8-DDC011A154AE}"/>
          </ac:spMkLst>
        </pc:spChg>
        <pc:spChg chg="del">
          <ac:chgData name="HADHRI Moncef" userId="895ef482-96ff-4dd4-9c74-0dc92131d96c" providerId="ADAL" clId="{E871B905-E2D9-4651-BB5B-07C41B3890F5}" dt="2023-02-01T10:28:17.773" v="349" actId="478"/>
          <ac:spMkLst>
            <pc:docMk/>
            <pc:sldMk cId="3050253954" sldId="483"/>
            <ac:spMk id="3" creationId="{D191EC7E-0577-124E-F24E-3A9DB88ADA4E}"/>
          </ac:spMkLst>
        </pc:spChg>
        <pc:picChg chg="del">
          <ac:chgData name="HADHRI Moncef" userId="895ef482-96ff-4dd4-9c74-0dc92131d96c" providerId="ADAL" clId="{E871B905-E2D9-4651-BB5B-07C41B3890F5}" dt="2023-02-01T10:28:07.287" v="345" actId="478"/>
          <ac:picMkLst>
            <pc:docMk/>
            <pc:sldMk cId="3050253954" sldId="483"/>
            <ac:picMk id="4" creationId="{D61FD8AD-2AD2-C969-7A13-671B9239377B}"/>
          </ac:picMkLst>
        </pc:picChg>
        <pc:picChg chg="add mod">
          <ac:chgData name="HADHRI Moncef" userId="895ef482-96ff-4dd4-9c74-0dc92131d96c" providerId="ADAL" clId="{E871B905-E2D9-4651-BB5B-07C41B3890F5}" dt="2023-02-01T10:28:22.657" v="352" actId="14100"/>
          <ac:picMkLst>
            <pc:docMk/>
            <pc:sldMk cId="3050253954" sldId="483"/>
            <ac:picMk id="6" creationId="{5881A8FA-5F1F-AEA2-06BB-75F7BBCD279A}"/>
          </ac:picMkLst>
        </pc:picChg>
      </pc:sldChg>
      <pc:sldChg chg="del">
        <pc:chgData name="HADHRI Moncef" userId="895ef482-96ff-4dd4-9c74-0dc92131d96c" providerId="ADAL" clId="{E871B905-E2D9-4651-BB5B-07C41B3890F5}" dt="2023-02-01T10:24:42.443" v="328" actId="47"/>
        <pc:sldMkLst>
          <pc:docMk/>
          <pc:sldMk cId="1397530830" sldId="484"/>
        </pc:sldMkLst>
      </pc:sldChg>
      <pc:sldChg chg="addSp delSp modSp mod">
        <pc:chgData name="HADHRI Moncef" userId="895ef482-96ff-4dd4-9c74-0dc92131d96c" providerId="ADAL" clId="{E871B905-E2D9-4651-BB5B-07C41B3890F5}" dt="2023-02-01T09:00:43.222" v="142" actId="1076"/>
        <pc:sldMkLst>
          <pc:docMk/>
          <pc:sldMk cId="3842426781" sldId="498"/>
        </pc:sldMkLst>
        <pc:spChg chg="del">
          <ac:chgData name="HADHRI Moncef" userId="895ef482-96ff-4dd4-9c74-0dc92131d96c" providerId="ADAL" clId="{E871B905-E2D9-4651-BB5B-07C41B3890F5}" dt="2023-02-01T09:00:32.461" v="136" actId="478"/>
          <ac:spMkLst>
            <pc:docMk/>
            <pc:sldMk cId="3842426781" sldId="498"/>
            <ac:spMk id="3" creationId="{1F0D783B-D336-2D0A-014C-73DB483463DB}"/>
          </ac:spMkLst>
        </pc:spChg>
        <pc:spChg chg="del">
          <ac:chgData name="HADHRI Moncef" userId="895ef482-96ff-4dd4-9c74-0dc92131d96c" providerId="ADAL" clId="{E871B905-E2D9-4651-BB5B-07C41B3890F5}" dt="2023-02-01T09:00:33.741" v="137" actId="478"/>
          <ac:spMkLst>
            <pc:docMk/>
            <pc:sldMk cId="3842426781" sldId="498"/>
            <ac:spMk id="4" creationId="{CA53DCE1-7EE2-4F26-C0DB-AE2C2B53AB59}"/>
          </ac:spMkLst>
        </pc:spChg>
        <pc:picChg chg="del">
          <ac:chgData name="HADHRI Moncef" userId="895ef482-96ff-4dd4-9c74-0dc92131d96c" providerId="ADAL" clId="{E871B905-E2D9-4651-BB5B-07C41B3890F5}" dt="2023-02-01T09:00:30.886" v="135" actId="478"/>
          <ac:picMkLst>
            <pc:docMk/>
            <pc:sldMk cId="3842426781" sldId="498"/>
            <ac:picMk id="6" creationId="{4528FAB9-E975-6744-C5CE-FC01BF4DA8E2}"/>
          </ac:picMkLst>
        </pc:picChg>
        <pc:picChg chg="add mod">
          <ac:chgData name="HADHRI Moncef" userId="895ef482-96ff-4dd4-9c74-0dc92131d96c" providerId="ADAL" clId="{E871B905-E2D9-4651-BB5B-07C41B3890F5}" dt="2023-02-01T09:00:43.222" v="142" actId="1076"/>
          <ac:picMkLst>
            <pc:docMk/>
            <pc:sldMk cId="3842426781" sldId="498"/>
            <ac:picMk id="7" creationId="{435BC351-9BA9-1EFA-6F99-4EB33755956F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39:53.668" v="410" actId="1076"/>
        <pc:sldMkLst>
          <pc:docMk/>
          <pc:sldMk cId="3132958973" sldId="502"/>
        </pc:sldMkLst>
        <pc:spChg chg="del">
          <ac:chgData name="HADHRI Moncef" userId="895ef482-96ff-4dd4-9c74-0dc92131d96c" providerId="ADAL" clId="{E871B905-E2D9-4651-BB5B-07C41B3890F5}" dt="2023-02-01T10:25:26.133" v="330" actId="478"/>
          <ac:spMkLst>
            <pc:docMk/>
            <pc:sldMk cId="3132958973" sldId="502"/>
            <ac:spMk id="3" creationId="{4BD9D155-6B41-3480-B71E-EC099CC75C38}"/>
          </ac:spMkLst>
        </pc:spChg>
        <pc:spChg chg="del">
          <ac:chgData name="HADHRI Moncef" userId="895ef482-96ff-4dd4-9c74-0dc92131d96c" providerId="ADAL" clId="{E871B905-E2D9-4651-BB5B-07C41B3890F5}" dt="2023-02-01T10:26:13.338" v="334" actId="478"/>
          <ac:spMkLst>
            <pc:docMk/>
            <pc:sldMk cId="3132958973" sldId="502"/>
            <ac:spMk id="4" creationId="{FB4CFC8B-80FA-E3A7-89A4-E48E64F4BF8B}"/>
          </ac:spMkLst>
        </pc:spChg>
        <pc:picChg chg="del">
          <ac:chgData name="HADHRI Moncef" userId="895ef482-96ff-4dd4-9c74-0dc92131d96c" providerId="ADAL" clId="{E871B905-E2D9-4651-BB5B-07C41B3890F5}" dt="2023-02-01T10:25:23.826" v="329" actId="478"/>
          <ac:picMkLst>
            <pc:docMk/>
            <pc:sldMk cId="3132958973" sldId="502"/>
            <ac:picMk id="5" creationId="{CB2F48BA-4E9E-1623-F546-FA03E9FDB6AB}"/>
          </ac:picMkLst>
        </pc:picChg>
        <pc:picChg chg="add del">
          <ac:chgData name="HADHRI Moncef" userId="895ef482-96ff-4dd4-9c74-0dc92131d96c" providerId="ADAL" clId="{E871B905-E2D9-4651-BB5B-07C41B3890F5}" dt="2023-02-01T10:25:33.546" v="332" actId="478"/>
          <ac:picMkLst>
            <pc:docMk/>
            <pc:sldMk cId="3132958973" sldId="502"/>
            <ac:picMk id="7" creationId="{2AD8465B-548F-7668-5D8C-25F99809597B}"/>
          </ac:picMkLst>
        </pc:picChg>
        <pc:picChg chg="add del mod">
          <ac:chgData name="HADHRI Moncef" userId="895ef482-96ff-4dd4-9c74-0dc92131d96c" providerId="ADAL" clId="{E871B905-E2D9-4651-BB5B-07C41B3890F5}" dt="2023-02-01T10:39:44.052" v="406" actId="478"/>
          <ac:picMkLst>
            <pc:docMk/>
            <pc:sldMk cId="3132958973" sldId="502"/>
            <ac:picMk id="9" creationId="{72862C8A-1919-265E-A0A0-42A925B14080}"/>
          </ac:picMkLst>
        </pc:picChg>
        <pc:picChg chg="add mod">
          <ac:chgData name="HADHRI Moncef" userId="895ef482-96ff-4dd4-9c74-0dc92131d96c" providerId="ADAL" clId="{E871B905-E2D9-4651-BB5B-07C41B3890F5}" dt="2023-02-01T10:39:53.668" v="410" actId="1076"/>
          <ac:picMkLst>
            <pc:docMk/>
            <pc:sldMk cId="3132958973" sldId="502"/>
            <ac:picMk id="11" creationId="{4980282B-0C2F-73C4-8647-C01136D96742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8:28:12.272" v="92" actId="1076"/>
        <pc:sldMkLst>
          <pc:docMk/>
          <pc:sldMk cId="4181001190" sldId="506"/>
        </pc:sldMkLst>
        <pc:spChg chg="del">
          <ac:chgData name="HADHRI Moncef" userId="895ef482-96ff-4dd4-9c74-0dc92131d96c" providerId="ADAL" clId="{E871B905-E2D9-4651-BB5B-07C41B3890F5}" dt="2023-02-01T08:27:44.001" v="83" actId="478"/>
          <ac:spMkLst>
            <pc:docMk/>
            <pc:sldMk cId="4181001190" sldId="506"/>
            <ac:spMk id="2" creationId="{B610C6D4-3A82-5E2C-F959-BE8A17914C78}"/>
          </ac:spMkLst>
        </pc:spChg>
        <pc:spChg chg="del">
          <ac:chgData name="HADHRI Moncef" userId="895ef482-96ff-4dd4-9c74-0dc92131d96c" providerId="ADAL" clId="{E871B905-E2D9-4651-BB5B-07C41B3890F5}" dt="2023-02-01T08:27:45.729" v="84" actId="478"/>
          <ac:spMkLst>
            <pc:docMk/>
            <pc:sldMk cId="4181001190" sldId="506"/>
            <ac:spMk id="3" creationId="{B04E0E6D-D5FC-521E-221D-6904658D1009}"/>
          </ac:spMkLst>
        </pc:spChg>
        <pc:picChg chg="del">
          <ac:chgData name="HADHRI Moncef" userId="895ef482-96ff-4dd4-9c74-0dc92131d96c" providerId="ADAL" clId="{E871B905-E2D9-4651-BB5B-07C41B3890F5}" dt="2023-02-01T08:27:46.384" v="85" actId="478"/>
          <ac:picMkLst>
            <pc:docMk/>
            <pc:sldMk cId="4181001190" sldId="506"/>
            <ac:picMk id="4" creationId="{301F345E-BDE2-E403-D21C-26951924C3E7}"/>
          </ac:picMkLst>
        </pc:picChg>
        <pc:picChg chg="add mod">
          <ac:chgData name="HADHRI Moncef" userId="895ef482-96ff-4dd4-9c74-0dc92131d96c" providerId="ADAL" clId="{E871B905-E2D9-4651-BB5B-07C41B3890F5}" dt="2023-02-01T08:28:12.272" v="92" actId="1076"/>
          <ac:picMkLst>
            <pc:docMk/>
            <pc:sldMk cId="4181001190" sldId="506"/>
            <ac:picMk id="6" creationId="{2837958C-C45A-A583-DC26-B9D87A647FBA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3:09:18.147" v="504" actId="1076"/>
        <pc:sldMkLst>
          <pc:docMk/>
          <pc:sldMk cId="3951615262" sldId="508"/>
        </pc:sldMkLst>
        <pc:spChg chg="del">
          <ac:chgData name="HADHRI Moncef" userId="895ef482-96ff-4dd4-9c74-0dc92131d96c" providerId="ADAL" clId="{E871B905-E2D9-4651-BB5B-07C41B3890F5}" dt="2023-02-01T10:53:16.688" v="475" actId="478"/>
          <ac:spMkLst>
            <pc:docMk/>
            <pc:sldMk cId="3951615262" sldId="508"/>
            <ac:spMk id="4" creationId="{8125DE4C-F767-0CDB-8314-C4E1974B7FD9}"/>
          </ac:spMkLst>
        </pc:spChg>
        <pc:spChg chg="del">
          <ac:chgData name="HADHRI Moncef" userId="895ef482-96ff-4dd4-9c74-0dc92131d96c" providerId="ADAL" clId="{E871B905-E2D9-4651-BB5B-07C41B3890F5}" dt="2023-02-01T10:53:16.688" v="475" actId="478"/>
          <ac:spMkLst>
            <pc:docMk/>
            <pc:sldMk cId="3951615262" sldId="508"/>
            <ac:spMk id="5" creationId="{67E563C2-863F-52F4-6ADD-AEE6DF529041}"/>
          </ac:spMkLst>
        </pc:spChg>
        <pc:spChg chg="del">
          <ac:chgData name="HADHRI Moncef" userId="895ef482-96ff-4dd4-9c74-0dc92131d96c" providerId="ADAL" clId="{E871B905-E2D9-4651-BB5B-07C41B3890F5}" dt="2023-02-01T10:53:16.688" v="475" actId="478"/>
          <ac:spMkLst>
            <pc:docMk/>
            <pc:sldMk cId="3951615262" sldId="508"/>
            <ac:spMk id="6" creationId="{5F0BBB57-D573-9FFB-1401-43106F4450A2}"/>
          </ac:spMkLst>
        </pc:spChg>
        <pc:picChg chg="del">
          <ac:chgData name="HADHRI Moncef" userId="895ef482-96ff-4dd4-9c74-0dc92131d96c" providerId="ADAL" clId="{E871B905-E2D9-4651-BB5B-07C41B3890F5}" dt="2023-02-01T10:53:30.679" v="476" actId="478"/>
          <ac:picMkLst>
            <pc:docMk/>
            <pc:sldMk cId="3951615262" sldId="508"/>
            <ac:picMk id="3" creationId="{60E8ADA5-0312-5A5C-D0BF-11B2979E6E6E}"/>
          </ac:picMkLst>
        </pc:picChg>
        <pc:picChg chg="del">
          <ac:chgData name="HADHRI Moncef" userId="895ef482-96ff-4dd4-9c74-0dc92131d96c" providerId="ADAL" clId="{E871B905-E2D9-4651-BB5B-07C41B3890F5}" dt="2023-02-01T10:53:16.688" v="475" actId="478"/>
          <ac:picMkLst>
            <pc:docMk/>
            <pc:sldMk cId="3951615262" sldId="508"/>
            <ac:picMk id="7" creationId="{7D7DA274-835E-437C-8E75-4D12F68E4158}"/>
          </ac:picMkLst>
        </pc:picChg>
        <pc:picChg chg="add mod">
          <ac:chgData name="HADHRI Moncef" userId="895ef482-96ff-4dd4-9c74-0dc92131d96c" providerId="ADAL" clId="{E871B905-E2D9-4651-BB5B-07C41B3890F5}" dt="2023-02-01T13:09:18.147" v="504" actId="1076"/>
          <ac:picMkLst>
            <pc:docMk/>
            <pc:sldMk cId="3951615262" sldId="508"/>
            <ac:picMk id="9" creationId="{A1FF0304-3D26-B18F-1A7D-2B0E333885E7}"/>
          </ac:picMkLst>
        </pc:picChg>
      </pc:sldChg>
      <pc:sldChg chg="delSp modSp mod">
        <pc:chgData name="HADHRI Moncef" userId="895ef482-96ff-4dd4-9c74-0dc92131d96c" providerId="ADAL" clId="{E871B905-E2D9-4651-BB5B-07C41B3890F5}" dt="2023-02-01T08:37:31.484" v="134" actId="1076"/>
        <pc:sldMkLst>
          <pc:docMk/>
          <pc:sldMk cId="405463073" sldId="510"/>
        </pc:sldMkLst>
        <pc:spChg chg="del">
          <ac:chgData name="HADHRI Moncef" userId="895ef482-96ff-4dd4-9c74-0dc92131d96c" providerId="ADAL" clId="{E871B905-E2D9-4651-BB5B-07C41B3890F5}" dt="2023-02-01T08:37:25.748" v="132" actId="478"/>
          <ac:spMkLst>
            <pc:docMk/>
            <pc:sldMk cId="405463073" sldId="510"/>
            <ac:spMk id="2" creationId="{AFD574EE-5ACF-226E-2512-CDEAF5DA024D}"/>
          </ac:spMkLst>
        </pc:spChg>
        <pc:spChg chg="del">
          <ac:chgData name="HADHRI Moncef" userId="895ef482-96ff-4dd4-9c74-0dc92131d96c" providerId="ADAL" clId="{E871B905-E2D9-4651-BB5B-07C41B3890F5}" dt="2023-02-01T08:37:28.998" v="133" actId="478"/>
          <ac:spMkLst>
            <pc:docMk/>
            <pc:sldMk cId="405463073" sldId="510"/>
            <ac:spMk id="4" creationId="{FE82CB60-2CFA-FAB9-B214-B6F171C9179F}"/>
          </ac:spMkLst>
        </pc:spChg>
        <pc:picChg chg="mod">
          <ac:chgData name="HADHRI Moncef" userId="895ef482-96ff-4dd4-9c74-0dc92131d96c" providerId="ADAL" clId="{E871B905-E2D9-4651-BB5B-07C41B3890F5}" dt="2023-02-01T08:37:31.484" v="134" actId="1076"/>
          <ac:picMkLst>
            <pc:docMk/>
            <pc:sldMk cId="405463073" sldId="510"/>
            <ac:picMk id="3" creationId="{CC551BA5-346E-4033-9360-1A751E735C94}"/>
          </ac:picMkLst>
        </pc:picChg>
        <pc:picChg chg="del">
          <ac:chgData name="HADHRI Moncef" userId="895ef482-96ff-4dd4-9c74-0dc92131d96c" providerId="ADAL" clId="{E871B905-E2D9-4651-BB5B-07C41B3890F5}" dt="2023-02-01T08:37:23.087" v="131" actId="478"/>
          <ac:picMkLst>
            <pc:docMk/>
            <pc:sldMk cId="405463073" sldId="510"/>
            <ac:picMk id="5" creationId="{1707C7A1-7081-DD74-EB9B-B01785CDD21E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16:16.312" v="198" actId="1076"/>
        <pc:sldMkLst>
          <pc:docMk/>
          <pc:sldMk cId="1376106718" sldId="511"/>
        </pc:sldMkLst>
        <pc:spChg chg="del">
          <ac:chgData name="HADHRI Moncef" userId="895ef482-96ff-4dd4-9c74-0dc92131d96c" providerId="ADAL" clId="{E871B905-E2D9-4651-BB5B-07C41B3890F5}" dt="2023-02-01T09:16:06.924" v="194" actId="478"/>
          <ac:spMkLst>
            <pc:docMk/>
            <pc:sldMk cId="1376106718" sldId="511"/>
            <ac:spMk id="2" creationId="{C493A426-56DB-F920-FF79-4B1D0C8F782D}"/>
          </ac:spMkLst>
        </pc:spChg>
        <pc:spChg chg="del">
          <ac:chgData name="HADHRI Moncef" userId="895ef482-96ff-4dd4-9c74-0dc92131d96c" providerId="ADAL" clId="{E871B905-E2D9-4651-BB5B-07C41B3890F5}" dt="2023-02-01T09:16:08.984" v="195" actId="478"/>
          <ac:spMkLst>
            <pc:docMk/>
            <pc:sldMk cId="1376106718" sldId="511"/>
            <ac:spMk id="3" creationId="{52536365-AB16-5FD7-F0A8-24B7FD549C8C}"/>
          </ac:spMkLst>
        </pc:spChg>
        <pc:picChg chg="del">
          <ac:chgData name="HADHRI Moncef" userId="895ef482-96ff-4dd4-9c74-0dc92131d96c" providerId="ADAL" clId="{E871B905-E2D9-4651-BB5B-07C41B3890F5}" dt="2023-02-01T09:16:04.597" v="193" actId="478"/>
          <ac:picMkLst>
            <pc:docMk/>
            <pc:sldMk cId="1376106718" sldId="511"/>
            <ac:picMk id="5" creationId="{659363F1-6477-EEB7-A930-FBA5D0E7DC2B}"/>
          </ac:picMkLst>
        </pc:picChg>
        <pc:picChg chg="add mod">
          <ac:chgData name="HADHRI Moncef" userId="895ef482-96ff-4dd4-9c74-0dc92131d96c" providerId="ADAL" clId="{E871B905-E2D9-4651-BB5B-07C41B3890F5}" dt="2023-02-01T09:16:16.312" v="198" actId="1076"/>
          <ac:picMkLst>
            <pc:docMk/>
            <pc:sldMk cId="1376106718" sldId="511"/>
            <ac:picMk id="6" creationId="{4165D49C-0AE2-CBAB-8B09-9AD53B7F9DA8}"/>
          </ac:picMkLst>
        </pc:picChg>
      </pc:sldChg>
      <pc:sldChg chg="del">
        <pc:chgData name="HADHRI Moncef" userId="895ef482-96ff-4dd4-9c74-0dc92131d96c" providerId="ADAL" clId="{E871B905-E2D9-4651-BB5B-07C41B3890F5}" dt="2023-01-19T09:07:56.753" v="0" actId="47"/>
        <pc:sldMkLst>
          <pc:docMk/>
          <pc:sldMk cId="145335520" sldId="512"/>
        </pc:sldMkLst>
      </pc:sldChg>
      <pc:sldChg chg="addSp delSp modSp mod">
        <pc:chgData name="HADHRI Moncef" userId="895ef482-96ff-4dd4-9c74-0dc92131d96c" providerId="ADAL" clId="{E871B905-E2D9-4651-BB5B-07C41B3890F5}" dt="2023-02-01T10:54:30.106" v="487" actId="1076"/>
        <pc:sldMkLst>
          <pc:docMk/>
          <pc:sldMk cId="1361385511" sldId="514"/>
        </pc:sldMkLst>
        <pc:spChg chg="del">
          <ac:chgData name="HADHRI Moncef" userId="895ef482-96ff-4dd4-9c74-0dc92131d96c" providerId="ADAL" clId="{E871B905-E2D9-4651-BB5B-07C41B3890F5}" dt="2023-02-01T10:54:26.698" v="484" actId="478"/>
          <ac:spMkLst>
            <pc:docMk/>
            <pc:sldMk cId="1361385511" sldId="514"/>
            <ac:spMk id="3" creationId="{69A0BF27-E114-96D3-6F9D-C104BB87FE47}"/>
          </ac:spMkLst>
        </pc:spChg>
        <pc:spChg chg="del">
          <ac:chgData name="HADHRI Moncef" userId="895ef482-96ff-4dd4-9c74-0dc92131d96c" providerId="ADAL" clId="{E871B905-E2D9-4651-BB5B-07C41B3890F5}" dt="2023-02-01T10:54:26.698" v="484" actId="478"/>
          <ac:spMkLst>
            <pc:docMk/>
            <pc:sldMk cId="1361385511" sldId="514"/>
            <ac:spMk id="4" creationId="{89993D6D-ACC9-E0A1-0924-6A24BA13CC1D}"/>
          </ac:spMkLst>
        </pc:spChg>
        <pc:spChg chg="del">
          <ac:chgData name="HADHRI Moncef" userId="895ef482-96ff-4dd4-9c74-0dc92131d96c" providerId="ADAL" clId="{E871B905-E2D9-4651-BB5B-07C41B3890F5}" dt="2023-02-01T10:54:26.698" v="484" actId="478"/>
          <ac:spMkLst>
            <pc:docMk/>
            <pc:sldMk cId="1361385511" sldId="514"/>
            <ac:spMk id="5" creationId="{DD8E6686-1088-33EB-4F13-B24711DED4DE}"/>
          </ac:spMkLst>
        </pc:spChg>
        <pc:picChg chg="del">
          <ac:chgData name="HADHRI Moncef" userId="895ef482-96ff-4dd4-9c74-0dc92131d96c" providerId="ADAL" clId="{E871B905-E2D9-4651-BB5B-07C41B3890F5}" dt="2023-02-01T10:54:17.121" v="482" actId="478"/>
          <ac:picMkLst>
            <pc:docMk/>
            <pc:sldMk cId="1361385511" sldId="514"/>
            <ac:picMk id="6" creationId="{64E37A34-6639-F818-DF0C-D33708C2DCF2}"/>
          </ac:picMkLst>
        </pc:picChg>
        <pc:picChg chg="del">
          <ac:chgData name="HADHRI Moncef" userId="895ef482-96ff-4dd4-9c74-0dc92131d96c" providerId="ADAL" clId="{E871B905-E2D9-4651-BB5B-07C41B3890F5}" dt="2023-02-01T10:54:26.698" v="484" actId="478"/>
          <ac:picMkLst>
            <pc:docMk/>
            <pc:sldMk cId="1361385511" sldId="514"/>
            <ac:picMk id="7" creationId="{D96A7D5C-15AA-191D-D73B-20BFED548565}"/>
          </ac:picMkLst>
        </pc:picChg>
        <pc:picChg chg="add mod">
          <ac:chgData name="HADHRI Moncef" userId="895ef482-96ff-4dd4-9c74-0dc92131d96c" providerId="ADAL" clId="{E871B905-E2D9-4651-BB5B-07C41B3890F5}" dt="2023-02-01T10:54:30.106" v="487" actId="1076"/>
          <ac:picMkLst>
            <pc:docMk/>
            <pc:sldMk cId="1361385511" sldId="514"/>
            <ac:picMk id="9" creationId="{B7A90C33-C8B3-6683-66B6-1FDD4E636310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08:16.988" v="320" actId="20577"/>
        <pc:sldMkLst>
          <pc:docMk/>
          <pc:sldMk cId="4037864099" sldId="516"/>
        </pc:sldMkLst>
        <pc:spChg chg="mod">
          <ac:chgData name="HADHRI Moncef" userId="895ef482-96ff-4dd4-9c74-0dc92131d96c" providerId="ADAL" clId="{E871B905-E2D9-4651-BB5B-07C41B3890F5}" dt="2023-02-01T10:08:16.988" v="320" actId="20577"/>
          <ac:spMkLst>
            <pc:docMk/>
            <pc:sldMk cId="4037864099" sldId="516"/>
            <ac:spMk id="2" creationId="{00000000-0000-0000-0000-000000000000}"/>
          </ac:spMkLst>
        </pc:spChg>
        <pc:spChg chg="del">
          <ac:chgData name="HADHRI Moncef" userId="895ef482-96ff-4dd4-9c74-0dc92131d96c" providerId="ADAL" clId="{E871B905-E2D9-4651-BB5B-07C41B3890F5}" dt="2023-02-01T10:08:00.723" v="315" actId="478"/>
          <ac:spMkLst>
            <pc:docMk/>
            <pc:sldMk cId="4037864099" sldId="516"/>
            <ac:spMk id="3" creationId="{39BEAB53-CFBB-C69C-3681-9CAB1706E336}"/>
          </ac:spMkLst>
        </pc:spChg>
        <pc:spChg chg="del">
          <ac:chgData name="HADHRI Moncef" userId="895ef482-96ff-4dd4-9c74-0dc92131d96c" providerId="ADAL" clId="{E871B905-E2D9-4651-BB5B-07C41B3890F5}" dt="2023-02-01T10:07:58.852" v="314" actId="478"/>
          <ac:spMkLst>
            <pc:docMk/>
            <pc:sldMk cId="4037864099" sldId="516"/>
            <ac:spMk id="5" creationId="{610F8CD8-EADB-396F-D70B-DD51BDED806D}"/>
          </ac:spMkLst>
        </pc:spChg>
        <pc:picChg chg="del">
          <ac:chgData name="HADHRI Moncef" userId="895ef482-96ff-4dd4-9c74-0dc92131d96c" providerId="ADAL" clId="{E871B905-E2D9-4651-BB5B-07C41B3890F5}" dt="2023-02-01T10:07:56.265" v="313" actId="478"/>
          <ac:picMkLst>
            <pc:docMk/>
            <pc:sldMk cId="4037864099" sldId="516"/>
            <ac:picMk id="4" creationId="{61C3CFC9-8018-EC6D-F2F4-12A8E0334685}"/>
          </ac:picMkLst>
        </pc:picChg>
        <pc:picChg chg="add mod">
          <ac:chgData name="HADHRI Moncef" userId="895ef482-96ff-4dd4-9c74-0dc92131d96c" providerId="ADAL" clId="{E871B905-E2D9-4651-BB5B-07C41B3890F5}" dt="2023-02-01T10:08:10.306" v="319" actId="1076"/>
          <ac:picMkLst>
            <pc:docMk/>
            <pc:sldMk cId="4037864099" sldId="516"/>
            <ac:picMk id="7" creationId="{489C3CBF-2278-821D-FD02-3A6ADA16F109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09:10.019" v="327" actId="1076"/>
        <pc:sldMkLst>
          <pc:docMk/>
          <pc:sldMk cId="1410458262" sldId="517"/>
        </pc:sldMkLst>
        <pc:spChg chg="del">
          <ac:chgData name="HADHRI Moncef" userId="895ef482-96ff-4dd4-9c74-0dc92131d96c" providerId="ADAL" clId="{E871B905-E2D9-4651-BB5B-07C41B3890F5}" dt="2023-02-01T10:09:02.644" v="323" actId="478"/>
          <ac:spMkLst>
            <pc:docMk/>
            <pc:sldMk cId="1410458262" sldId="517"/>
            <ac:spMk id="3" creationId="{1012830A-BB5D-2455-DF19-7C6BD814F77B}"/>
          </ac:spMkLst>
        </pc:spChg>
        <pc:spChg chg="del">
          <ac:chgData name="HADHRI Moncef" userId="895ef482-96ff-4dd4-9c74-0dc92131d96c" providerId="ADAL" clId="{E871B905-E2D9-4651-BB5B-07C41B3890F5}" dt="2023-02-01T10:09:01.011" v="322" actId="478"/>
          <ac:spMkLst>
            <pc:docMk/>
            <pc:sldMk cId="1410458262" sldId="517"/>
            <ac:spMk id="5" creationId="{E8230895-0543-7865-61D7-45AC3C756A8D}"/>
          </ac:spMkLst>
        </pc:spChg>
        <pc:picChg chg="del">
          <ac:chgData name="HADHRI Moncef" userId="895ef482-96ff-4dd4-9c74-0dc92131d96c" providerId="ADAL" clId="{E871B905-E2D9-4651-BB5B-07C41B3890F5}" dt="2023-02-01T10:08:59.036" v="321" actId="478"/>
          <ac:picMkLst>
            <pc:docMk/>
            <pc:sldMk cId="1410458262" sldId="517"/>
            <ac:picMk id="6" creationId="{2CB37E01-0658-CEB5-ABF1-0DC0C0F6D728}"/>
          </ac:picMkLst>
        </pc:picChg>
        <pc:picChg chg="add mod">
          <ac:chgData name="HADHRI Moncef" userId="895ef482-96ff-4dd4-9c74-0dc92131d96c" providerId="ADAL" clId="{E871B905-E2D9-4651-BB5B-07C41B3890F5}" dt="2023-02-01T10:09:10.019" v="327" actId="1076"/>
          <ac:picMkLst>
            <pc:docMk/>
            <pc:sldMk cId="1410458262" sldId="517"/>
            <ac:picMk id="7" creationId="{9E89C76B-8428-1492-1BEB-7306F8D6BE9E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46:10.963" v="437" actId="1076"/>
        <pc:sldMkLst>
          <pc:docMk/>
          <pc:sldMk cId="2337721770" sldId="519"/>
        </pc:sldMkLst>
        <pc:spChg chg="del">
          <ac:chgData name="HADHRI Moncef" userId="895ef482-96ff-4dd4-9c74-0dc92131d96c" providerId="ADAL" clId="{E871B905-E2D9-4651-BB5B-07C41B3890F5}" dt="2023-02-01T10:45:34.740" v="430" actId="478"/>
          <ac:spMkLst>
            <pc:docMk/>
            <pc:sldMk cId="2337721770" sldId="519"/>
            <ac:spMk id="4" creationId="{A3F8F96E-D9BC-5D8A-61CD-D84BFAAC73D9}"/>
          </ac:spMkLst>
        </pc:spChg>
        <pc:spChg chg="del">
          <ac:chgData name="HADHRI Moncef" userId="895ef482-96ff-4dd4-9c74-0dc92131d96c" providerId="ADAL" clId="{E871B905-E2D9-4651-BB5B-07C41B3890F5}" dt="2023-02-01T10:45:37.998" v="431" actId="478"/>
          <ac:spMkLst>
            <pc:docMk/>
            <pc:sldMk cId="2337721770" sldId="519"/>
            <ac:spMk id="5" creationId="{E054CEE1-D20A-3859-92C7-0B6975767316}"/>
          </ac:spMkLst>
        </pc:spChg>
        <pc:picChg chg="del">
          <ac:chgData name="HADHRI Moncef" userId="895ef482-96ff-4dd4-9c74-0dc92131d96c" providerId="ADAL" clId="{E871B905-E2D9-4651-BB5B-07C41B3890F5}" dt="2023-02-01T10:45:32.708" v="429" actId="478"/>
          <ac:picMkLst>
            <pc:docMk/>
            <pc:sldMk cId="2337721770" sldId="519"/>
            <ac:picMk id="3" creationId="{5634CB42-05F8-E98D-5439-16DF7FB5AAAC}"/>
          </ac:picMkLst>
        </pc:picChg>
        <pc:picChg chg="add mod">
          <ac:chgData name="HADHRI Moncef" userId="895ef482-96ff-4dd4-9c74-0dc92131d96c" providerId="ADAL" clId="{E871B905-E2D9-4651-BB5B-07C41B3890F5}" dt="2023-02-01T10:46:10.963" v="437" actId="1076"/>
          <ac:picMkLst>
            <pc:docMk/>
            <pc:sldMk cId="2337721770" sldId="519"/>
            <ac:picMk id="7" creationId="{682D45DE-32B5-BDE0-14B3-E82561497771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46:40.189" v="444" actId="1076"/>
        <pc:sldMkLst>
          <pc:docMk/>
          <pc:sldMk cId="3995611519" sldId="520"/>
        </pc:sldMkLst>
        <pc:spChg chg="del">
          <ac:chgData name="HADHRI Moncef" userId="895ef482-96ff-4dd4-9c74-0dc92131d96c" providerId="ADAL" clId="{E871B905-E2D9-4651-BB5B-07C41B3890F5}" dt="2023-02-01T10:46:31.010" v="439" actId="478"/>
          <ac:spMkLst>
            <pc:docMk/>
            <pc:sldMk cId="3995611519" sldId="520"/>
            <ac:spMk id="4" creationId="{C02D84CE-DE0D-F228-E604-263CA0B5EFA4}"/>
          </ac:spMkLst>
        </pc:spChg>
        <pc:spChg chg="del">
          <ac:chgData name="HADHRI Moncef" userId="895ef482-96ff-4dd4-9c74-0dc92131d96c" providerId="ADAL" clId="{E871B905-E2D9-4651-BB5B-07C41B3890F5}" dt="2023-02-01T10:46:32.331" v="440" actId="478"/>
          <ac:spMkLst>
            <pc:docMk/>
            <pc:sldMk cId="3995611519" sldId="520"/>
            <ac:spMk id="5" creationId="{B6431986-07B7-46F8-3D01-2CE17FB88930}"/>
          </ac:spMkLst>
        </pc:spChg>
        <pc:picChg chg="del">
          <ac:chgData name="HADHRI Moncef" userId="895ef482-96ff-4dd4-9c74-0dc92131d96c" providerId="ADAL" clId="{E871B905-E2D9-4651-BB5B-07C41B3890F5}" dt="2023-02-01T10:46:27.683" v="438" actId="478"/>
          <ac:picMkLst>
            <pc:docMk/>
            <pc:sldMk cId="3995611519" sldId="520"/>
            <ac:picMk id="3" creationId="{DE587459-9822-38D3-3A91-AE62F61B8368}"/>
          </ac:picMkLst>
        </pc:picChg>
        <pc:picChg chg="add mod">
          <ac:chgData name="HADHRI Moncef" userId="895ef482-96ff-4dd4-9c74-0dc92131d96c" providerId="ADAL" clId="{E871B905-E2D9-4651-BB5B-07C41B3890F5}" dt="2023-02-01T10:46:40.189" v="444" actId="1076"/>
          <ac:picMkLst>
            <pc:docMk/>
            <pc:sldMk cId="3995611519" sldId="520"/>
            <ac:picMk id="7" creationId="{264E447B-B2DB-836E-8CB9-86F2310A2657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2:33:52.090" v="497" actId="1076"/>
        <pc:sldMkLst>
          <pc:docMk/>
          <pc:sldMk cId="1441936261" sldId="523"/>
        </pc:sldMkLst>
        <pc:spChg chg="del">
          <ac:chgData name="HADHRI Moncef" userId="895ef482-96ff-4dd4-9c74-0dc92131d96c" providerId="ADAL" clId="{E871B905-E2D9-4651-BB5B-07C41B3890F5}" dt="2023-02-01T08:23:18.896" v="39" actId="478"/>
          <ac:spMkLst>
            <pc:docMk/>
            <pc:sldMk cId="1441936261" sldId="523"/>
            <ac:spMk id="2" creationId="{6B53E488-5663-F767-B143-3712BCF0FE40}"/>
          </ac:spMkLst>
        </pc:spChg>
        <pc:spChg chg="del">
          <ac:chgData name="HADHRI Moncef" userId="895ef482-96ff-4dd4-9c74-0dc92131d96c" providerId="ADAL" clId="{E871B905-E2D9-4651-BB5B-07C41B3890F5}" dt="2023-02-01T08:23:13.907" v="38" actId="478"/>
          <ac:spMkLst>
            <pc:docMk/>
            <pc:sldMk cId="1441936261" sldId="523"/>
            <ac:spMk id="3" creationId="{13EBF1AE-8A3D-CC89-AA31-DDDFDE0C74D0}"/>
          </ac:spMkLst>
        </pc:spChg>
        <pc:picChg chg="add del mod">
          <ac:chgData name="HADHRI Moncef" userId="895ef482-96ff-4dd4-9c74-0dc92131d96c" providerId="ADAL" clId="{E871B905-E2D9-4651-BB5B-07C41B3890F5}" dt="2023-02-01T12:33:42.587" v="492" actId="478"/>
          <ac:picMkLst>
            <pc:docMk/>
            <pc:sldMk cId="1441936261" sldId="523"/>
            <ac:picMk id="3" creationId="{1D1418E9-ADAE-EDDF-D72F-6121E4920EE8}"/>
          </ac:picMkLst>
        </pc:picChg>
        <pc:picChg chg="add del mod">
          <ac:chgData name="HADHRI Moncef" userId="895ef482-96ff-4dd4-9c74-0dc92131d96c" providerId="ADAL" clId="{E871B905-E2D9-4651-BB5B-07C41B3890F5}" dt="2023-02-01T12:33:08.560" v="488" actId="478"/>
          <ac:picMkLst>
            <pc:docMk/>
            <pc:sldMk cId="1441936261" sldId="523"/>
            <ac:picMk id="5" creationId="{15BD4172-9EE7-E6F5-865A-041AAF7709C1}"/>
          </ac:picMkLst>
        </pc:picChg>
        <pc:picChg chg="add mod">
          <ac:chgData name="HADHRI Moncef" userId="895ef482-96ff-4dd4-9c74-0dc92131d96c" providerId="ADAL" clId="{E871B905-E2D9-4651-BB5B-07C41B3890F5}" dt="2023-02-01T12:33:52.090" v="497" actId="1076"/>
          <ac:picMkLst>
            <pc:docMk/>
            <pc:sldMk cId="1441936261" sldId="523"/>
            <ac:picMk id="6" creationId="{56CB998E-A940-8F1B-1E4B-7EBC7BF0F553}"/>
          </ac:picMkLst>
        </pc:picChg>
        <pc:picChg chg="del">
          <ac:chgData name="HADHRI Moncef" userId="895ef482-96ff-4dd4-9c74-0dc92131d96c" providerId="ADAL" clId="{E871B905-E2D9-4651-BB5B-07C41B3890F5}" dt="2023-02-01T08:23:11.526" v="37" actId="478"/>
          <ac:picMkLst>
            <pc:docMk/>
            <pc:sldMk cId="1441936261" sldId="523"/>
            <ac:picMk id="6" creationId="{DBBC3FB8-D87B-40DC-AB04-68A0BD47FDA8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8:27:38.545" v="82" actId="1076"/>
        <pc:sldMkLst>
          <pc:docMk/>
          <pc:sldMk cId="3652464793" sldId="524"/>
        </pc:sldMkLst>
        <pc:spChg chg="del">
          <ac:chgData name="HADHRI Moncef" userId="895ef482-96ff-4dd4-9c74-0dc92131d96c" providerId="ADAL" clId="{E871B905-E2D9-4651-BB5B-07C41B3890F5}" dt="2023-02-01T08:24:14.754" v="73" actId="478"/>
          <ac:spMkLst>
            <pc:docMk/>
            <pc:sldMk cId="3652464793" sldId="524"/>
            <ac:spMk id="2" creationId="{DE476056-5382-F4A9-9EE0-5268F4D7BA3A}"/>
          </ac:spMkLst>
        </pc:spChg>
        <pc:spChg chg="del">
          <ac:chgData name="HADHRI Moncef" userId="895ef482-96ff-4dd4-9c74-0dc92131d96c" providerId="ADAL" clId="{E871B905-E2D9-4651-BB5B-07C41B3890F5}" dt="2023-02-01T08:24:16.905" v="74" actId="478"/>
          <ac:spMkLst>
            <pc:docMk/>
            <pc:sldMk cId="3652464793" sldId="524"/>
            <ac:spMk id="3" creationId="{9BC4D631-DC25-E0BC-DA06-40B68C5320ED}"/>
          </ac:spMkLst>
        </pc:spChg>
        <pc:picChg chg="del">
          <ac:chgData name="HADHRI Moncef" userId="895ef482-96ff-4dd4-9c74-0dc92131d96c" providerId="ADAL" clId="{E871B905-E2D9-4651-BB5B-07C41B3890F5}" dt="2023-02-01T08:24:32.687" v="75" actId="478"/>
          <ac:picMkLst>
            <pc:docMk/>
            <pc:sldMk cId="3652464793" sldId="524"/>
            <ac:picMk id="5" creationId="{B3B3FAF4-014D-5B64-69A3-2712327BC185}"/>
          </ac:picMkLst>
        </pc:picChg>
        <pc:picChg chg="add del mod">
          <ac:chgData name="HADHRI Moncef" userId="895ef482-96ff-4dd4-9c74-0dc92131d96c" providerId="ADAL" clId="{E871B905-E2D9-4651-BB5B-07C41B3890F5}" dt="2023-02-01T08:24:49.815" v="78" actId="478"/>
          <ac:picMkLst>
            <pc:docMk/>
            <pc:sldMk cId="3652464793" sldId="524"/>
            <ac:picMk id="6" creationId="{972064CC-202D-E711-992A-EDCE379B15BA}"/>
          </ac:picMkLst>
        </pc:picChg>
        <pc:picChg chg="add mod">
          <ac:chgData name="HADHRI Moncef" userId="895ef482-96ff-4dd4-9c74-0dc92131d96c" providerId="ADAL" clId="{E871B905-E2D9-4651-BB5B-07C41B3890F5}" dt="2023-02-01T08:27:38.545" v="82" actId="1076"/>
          <ac:picMkLst>
            <pc:docMk/>
            <pc:sldMk cId="3652464793" sldId="524"/>
            <ac:picMk id="9" creationId="{BF0FE40D-49C6-4572-B3BE-ACE9BC80365C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8:29:37.263" v="100" actId="14100"/>
        <pc:sldMkLst>
          <pc:docMk/>
          <pc:sldMk cId="1797321108" sldId="525"/>
        </pc:sldMkLst>
        <pc:spChg chg="del">
          <ac:chgData name="HADHRI Moncef" userId="895ef482-96ff-4dd4-9c74-0dc92131d96c" providerId="ADAL" clId="{E871B905-E2D9-4651-BB5B-07C41B3890F5}" dt="2023-02-01T08:29:26.351" v="95" actId="478"/>
          <ac:spMkLst>
            <pc:docMk/>
            <pc:sldMk cId="1797321108" sldId="525"/>
            <ac:spMk id="2" creationId="{007A6943-62E8-DDF9-2516-298D56282164}"/>
          </ac:spMkLst>
        </pc:spChg>
        <pc:spChg chg="del">
          <ac:chgData name="HADHRI Moncef" userId="895ef482-96ff-4dd4-9c74-0dc92131d96c" providerId="ADAL" clId="{E871B905-E2D9-4651-BB5B-07C41B3890F5}" dt="2023-02-01T08:29:24.823" v="94" actId="478"/>
          <ac:spMkLst>
            <pc:docMk/>
            <pc:sldMk cId="1797321108" sldId="525"/>
            <ac:spMk id="3" creationId="{D8A57A50-1251-EE3E-1CC2-87761FDF5065}"/>
          </ac:spMkLst>
        </pc:spChg>
        <pc:picChg chg="del">
          <ac:chgData name="HADHRI Moncef" userId="895ef482-96ff-4dd4-9c74-0dc92131d96c" providerId="ADAL" clId="{E871B905-E2D9-4651-BB5B-07C41B3890F5}" dt="2023-02-01T08:29:23.070" v="93" actId="478"/>
          <ac:picMkLst>
            <pc:docMk/>
            <pc:sldMk cId="1797321108" sldId="525"/>
            <ac:picMk id="5" creationId="{3A709329-2D85-8FA4-C9BE-6B161CF28AA2}"/>
          </ac:picMkLst>
        </pc:picChg>
        <pc:picChg chg="add mod">
          <ac:chgData name="HADHRI Moncef" userId="895ef482-96ff-4dd4-9c74-0dc92131d96c" providerId="ADAL" clId="{E871B905-E2D9-4651-BB5B-07C41B3890F5}" dt="2023-02-01T08:29:37.263" v="100" actId="14100"/>
          <ac:picMkLst>
            <pc:docMk/>
            <pc:sldMk cId="1797321108" sldId="525"/>
            <ac:picMk id="6" creationId="{CDD7BC31-6339-FFE3-63F2-B5092AC70AE0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8:34:11.181" v="115" actId="1076"/>
        <pc:sldMkLst>
          <pc:docMk/>
          <pc:sldMk cId="3840129972" sldId="526"/>
        </pc:sldMkLst>
        <pc:spChg chg="del">
          <ac:chgData name="HADHRI Moncef" userId="895ef482-96ff-4dd4-9c74-0dc92131d96c" providerId="ADAL" clId="{E871B905-E2D9-4651-BB5B-07C41B3890F5}" dt="2023-02-01T08:34:01.615" v="110" actId="478"/>
          <ac:spMkLst>
            <pc:docMk/>
            <pc:sldMk cId="3840129972" sldId="526"/>
            <ac:spMk id="2" creationId="{E05F4DE3-FA53-DA2C-871A-1AC493B5273A}"/>
          </ac:spMkLst>
        </pc:spChg>
        <pc:spChg chg="del">
          <ac:chgData name="HADHRI Moncef" userId="895ef482-96ff-4dd4-9c74-0dc92131d96c" providerId="ADAL" clId="{E871B905-E2D9-4651-BB5B-07C41B3890F5}" dt="2023-02-01T08:34:03.382" v="111" actId="478"/>
          <ac:spMkLst>
            <pc:docMk/>
            <pc:sldMk cId="3840129972" sldId="526"/>
            <ac:spMk id="3" creationId="{7AB1CE42-8F86-D2AC-3426-4F3B93B205D5}"/>
          </ac:spMkLst>
        </pc:spChg>
        <pc:picChg chg="del">
          <ac:chgData name="HADHRI Moncef" userId="895ef482-96ff-4dd4-9c74-0dc92131d96c" providerId="ADAL" clId="{E871B905-E2D9-4651-BB5B-07C41B3890F5}" dt="2023-02-01T08:34:03.864" v="112" actId="478"/>
          <ac:picMkLst>
            <pc:docMk/>
            <pc:sldMk cId="3840129972" sldId="526"/>
            <ac:picMk id="5" creationId="{E5BB9D2F-67A8-5364-96F3-A7A8D54860CD}"/>
          </ac:picMkLst>
        </pc:picChg>
        <pc:picChg chg="add mod">
          <ac:chgData name="HADHRI Moncef" userId="895ef482-96ff-4dd4-9c74-0dc92131d96c" providerId="ADAL" clId="{E871B905-E2D9-4651-BB5B-07C41B3890F5}" dt="2023-02-01T08:34:11.181" v="115" actId="1076"/>
          <ac:picMkLst>
            <pc:docMk/>
            <pc:sldMk cId="3840129972" sldId="526"/>
            <ac:picMk id="6" creationId="{CC94D53A-61A5-0AE1-8F3C-0A36377EE304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8:35:27.405" v="123" actId="1076"/>
        <pc:sldMkLst>
          <pc:docMk/>
          <pc:sldMk cId="611791896" sldId="527"/>
        </pc:sldMkLst>
        <pc:spChg chg="del">
          <ac:chgData name="HADHRI Moncef" userId="895ef482-96ff-4dd4-9c74-0dc92131d96c" providerId="ADAL" clId="{E871B905-E2D9-4651-BB5B-07C41B3890F5}" dt="2023-02-01T08:35:16.358" v="118" actId="478"/>
          <ac:spMkLst>
            <pc:docMk/>
            <pc:sldMk cId="611791896" sldId="527"/>
            <ac:spMk id="2" creationId="{C08E2B7C-887E-10F7-9253-C8AFD6DD29E3}"/>
          </ac:spMkLst>
        </pc:spChg>
        <pc:spChg chg="del">
          <ac:chgData name="HADHRI Moncef" userId="895ef482-96ff-4dd4-9c74-0dc92131d96c" providerId="ADAL" clId="{E871B905-E2D9-4651-BB5B-07C41B3890F5}" dt="2023-02-01T08:35:14.358" v="117" actId="478"/>
          <ac:spMkLst>
            <pc:docMk/>
            <pc:sldMk cId="611791896" sldId="527"/>
            <ac:spMk id="3" creationId="{F8B0142B-7EE8-C34B-8A7D-D64AB6890056}"/>
          </ac:spMkLst>
        </pc:spChg>
        <pc:picChg chg="del">
          <ac:chgData name="HADHRI Moncef" userId="895ef482-96ff-4dd4-9c74-0dc92131d96c" providerId="ADAL" clId="{E871B905-E2D9-4651-BB5B-07C41B3890F5}" dt="2023-02-01T08:35:12.097" v="116" actId="478"/>
          <ac:picMkLst>
            <pc:docMk/>
            <pc:sldMk cId="611791896" sldId="527"/>
            <ac:picMk id="5" creationId="{CD686AF9-AA70-52C2-5035-E99C84F8D798}"/>
          </ac:picMkLst>
        </pc:picChg>
        <pc:picChg chg="add mod">
          <ac:chgData name="HADHRI Moncef" userId="895ef482-96ff-4dd4-9c74-0dc92131d96c" providerId="ADAL" clId="{E871B905-E2D9-4651-BB5B-07C41B3890F5}" dt="2023-02-01T08:35:27.405" v="123" actId="1076"/>
          <ac:picMkLst>
            <pc:docMk/>
            <pc:sldMk cId="611791896" sldId="527"/>
            <ac:picMk id="6" creationId="{A80FD2A2-5EAA-00F1-2380-9404EAE0D532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8:36:45.526" v="130" actId="1076"/>
        <pc:sldMkLst>
          <pc:docMk/>
          <pc:sldMk cId="4050344241" sldId="528"/>
        </pc:sldMkLst>
        <pc:spChg chg="del">
          <ac:chgData name="HADHRI Moncef" userId="895ef482-96ff-4dd4-9c74-0dc92131d96c" providerId="ADAL" clId="{E871B905-E2D9-4651-BB5B-07C41B3890F5}" dt="2023-02-01T08:36:33.823" v="126" actId="478"/>
          <ac:spMkLst>
            <pc:docMk/>
            <pc:sldMk cId="4050344241" sldId="528"/>
            <ac:spMk id="2" creationId="{A9580359-44B1-2F7B-6655-C12229C4979B}"/>
          </ac:spMkLst>
        </pc:spChg>
        <pc:spChg chg="del">
          <ac:chgData name="HADHRI Moncef" userId="895ef482-96ff-4dd4-9c74-0dc92131d96c" providerId="ADAL" clId="{E871B905-E2D9-4651-BB5B-07C41B3890F5}" dt="2023-02-01T08:36:32.022" v="125" actId="478"/>
          <ac:spMkLst>
            <pc:docMk/>
            <pc:sldMk cId="4050344241" sldId="528"/>
            <ac:spMk id="3" creationId="{0CCA9B49-3B5B-F266-1B3F-92C8F664197F}"/>
          </ac:spMkLst>
        </pc:spChg>
        <pc:picChg chg="del">
          <ac:chgData name="HADHRI Moncef" userId="895ef482-96ff-4dd4-9c74-0dc92131d96c" providerId="ADAL" clId="{E871B905-E2D9-4651-BB5B-07C41B3890F5}" dt="2023-02-01T08:36:30.126" v="124" actId="478"/>
          <ac:picMkLst>
            <pc:docMk/>
            <pc:sldMk cId="4050344241" sldId="528"/>
            <ac:picMk id="5" creationId="{7C5C25F7-286B-E03F-C3FC-E01C2F34CEF9}"/>
          </ac:picMkLst>
        </pc:picChg>
        <pc:picChg chg="add mod">
          <ac:chgData name="HADHRI Moncef" userId="895ef482-96ff-4dd4-9c74-0dc92131d96c" providerId="ADAL" clId="{E871B905-E2D9-4651-BB5B-07C41B3890F5}" dt="2023-02-01T08:36:45.526" v="130" actId="1076"/>
          <ac:picMkLst>
            <pc:docMk/>
            <pc:sldMk cId="4050344241" sldId="528"/>
            <ac:picMk id="6" creationId="{72D23657-A19F-1343-9B94-D602BD8AC61C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07:41.173" v="156" actId="1076"/>
        <pc:sldMkLst>
          <pc:docMk/>
          <pc:sldMk cId="3970380033" sldId="529"/>
        </pc:sldMkLst>
        <pc:spChg chg="del">
          <ac:chgData name="HADHRI Moncef" userId="895ef482-96ff-4dd4-9c74-0dc92131d96c" providerId="ADAL" clId="{E871B905-E2D9-4651-BB5B-07C41B3890F5}" dt="2023-02-01T09:07:31.118" v="151" actId="478"/>
          <ac:spMkLst>
            <pc:docMk/>
            <pc:sldMk cId="3970380033" sldId="529"/>
            <ac:spMk id="2" creationId="{95C28949-F5A7-F219-288E-9DBD46E7C6D6}"/>
          </ac:spMkLst>
        </pc:spChg>
        <pc:spChg chg="del">
          <ac:chgData name="HADHRI Moncef" userId="895ef482-96ff-4dd4-9c74-0dc92131d96c" providerId="ADAL" clId="{E871B905-E2D9-4651-BB5B-07C41B3890F5}" dt="2023-02-01T09:07:28.872" v="149" actId="478"/>
          <ac:spMkLst>
            <pc:docMk/>
            <pc:sldMk cId="3970380033" sldId="529"/>
            <ac:spMk id="4" creationId="{FC869974-578F-B045-C886-4AEBA6F1F81A}"/>
          </ac:spMkLst>
        </pc:spChg>
        <pc:picChg chg="add mod">
          <ac:chgData name="HADHRI Moncef" userId="895ef482-96ff-4dd4-9c74-0dc92131d96c" providerId="ADAL" clId="{E871B905-E2D9-4651-BB5B-07C41B3890F5}" dt="2023-02-01T09:07:41.173" v="156" actId="1076"/>
          <ac:picMkLst>
            <pc:docMk/>
            <pc:sldMk cId="3970380033" sldId="529"/>
            <ac:picMk id="5" creationId="{30489D27-DCA7-8D4E-E8C0-C3201FBC2C39}"/>
          </ac:picMkLst>
        </pc:picChg>
        <pc:picChg chg="del">
          <ac:chgData name="HADHRI Moncef" userId="895ef482-96ff-4dd4-9c74-0dc92131d96c" providerId="ADAL" clId="{E871B905-E2D9-4651-BB5B-07C41B3890F5}" dt="2023-02-01T09:07:29.575" v="150" actId="478"/>
          <ac:picMkLst>
            <pc:docMk/>
            <pc:sldMk cId="3970380033" sldId="529"/>
            <ac:picMk id="6" creationId="{ED6B9BAE-249D-4927-9D0C-BB604D7A505C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08:51.094" v="161" actId="1076"/>
        <pc:sldMkLst>
          <pc:docMk/>
          <pc:sldMk cId="2267228707" sldId="530"/>
        </pc:sldMkLst>
        <pc:spChg chg="del">
          <ac:chgData name="HADHRI Moncef" userId="895ef482-96ff-4dd4-9c74-0dc92131d96c" providerId="ADAL" clId="{E871B905-E2D9-4651-BB5B-07C41B3890F5}" dt="2023-02-01T09:08:45.101" v="159" actId="478"/>
          <ac:spMkLst>
            <pc:docMk/>
            <pc:sldMk cId="2267228707" sldId="530"/>
            <ac:spMk id="2" creationId="{95810D46-C750-90C9-1320-E71E13536D74}"/>
          </ac:spMkLst>
        </pc:spChg>
        <pc:spChg chg="del">
          <ac:chgData name="HADHRI Moncef" userId="895ef482-96ff-4dd4-9c74-0dc92131d96c" providerId="ADAL" clId="{E871B905-E2D9-4651-BB5B-07C41B3890F5}" dt="2023-02-01T09:08:43.486" v="158" actId="478"/>
          <ac:spMkLst>
            <pc:docMk/>
            <pc:sldMk cId="2267228707" sldId="530"/>
            <ac:spMk id="3" creationId="{F9355640-030F-3083-BFA3-BF9AF1984CBB}"/>
          </ac:spMkLst>
        </pc:spChg>
        <pc:picChg chg="add mod">
          <ac:chgData name="HADHRI Moncef" userId="895ef482-96ff-4dd4-9c74-0dc92131d96c" providerId="ADAL" clId="{E871B905-E2D9-4651-BB5B-07C41B3890F5}" dt="2023-02-01T09:08:51.094" v="161" actId="1076"/>
          <ac:picMkLst>
            <pc:docMk/>
            <pc:sldMk cId="2267228707" sldId="530"/>
            <ac:picMk id="5" creationId="{32A00C07-8BE0-4D6C-8E57-CF47886BB09E}"/>
          </ac:picMkLst>
        </pc:picChg>
        <pc:picChg chg="del">
          <ac:chgData name="HADHRI Moncef" userId="895ef482-96ff-4dd4-9c74-0dc92131d96c" providerId="ADAL" clId="{E871B905-E2D9-4651-BB5B-07C41B3890F5}" dt="2023-02-01T09:08:41.133" v="157" actId="478"/>
          <ac:picMkLst>
            <pc:docMk/>
            <pc:sldMk cId="2267228707" sldId="530"/>
            <ac:picMk id="6" creationId="{2E79730F-B749-4248-8541-5F31F014B9CD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12:46.197" v="172" actId="14100"/>
        <pc:sldMkLst>
          <pc:docMk/>
          <pc:sldMk cId="399590516" sldId="531"/>
        </pc:sldMkLst>
        <pc:spChg chg="del">
          <ac:chgData name="HADHRI Moncef" userId="895ef482-96ff-4dd4-9c74-0dc92131d96c" providerId="ADAL" clId="{E871B905-E2D9-4651-BB5B-07C41B3890F5}" dt="2023-02-01T09:12:38.590" v="168" actId="478"/>
          <ac:spMkLst>
            <pc:docMk/>
            <pc:sldMk cId="399590516" sldId="531"/>
            <ac:spMk id="2" creationId="{38FF78A4-4F66-DA11-22C2-7F0552D99B98}"/>
          </ac:spMkLst>
        </pc:spChg>
        <pc:spChg chg="del">
          <ac:chgData name="HADHRI Moncef" userId="895ef482-96ff-4dd4-9c74-0dc92131d96c" providerId="ADAL" clId="{E871B905-E2D9-4651-BB5B-07C41B3890F5}" dt="2023-02-01T09:12:40.031" v="169" actId="478"/>
          <ac:spMkLst>
            <pc:docMk/>
            <pc:sldMk cId="399590516" sldId="531"/>
            <ac:spMk id="3" creationId="{6A6CA18C-8258-2914-66AA-88A6E313BED9}"/>
          </ac:spMkLst>
        </pc:spChg>
        <pc:picChg chg="del">
          <ac:chgData name="HADHRI Moncef" userId="895ef482-96ff-4dd4-9c74-0dc92131d96c" providerId="ADAL" clId="{E871B905-E2D9-4651-BB5B-07C41B3890F5}" dt="2023-02-01T09:12:37.230" v="167" actId="478"/>
          <ac:picMkLst>
            <pc:docMk/>
            <pc:sldMk cId="399590516" sldId="531"/>
            <ac:picMk id="5" creationId="{D9822E4F-C939-A1DD-B71C-7F6F897B08B8}"/>
          </ac:picMkLst>
        </pc:picChg>
        <pc:picChg chg="add mod">
          <ac:chgData name="HADHRI Moncef" userId="895ef482-96ff-4dd4-9c74-0dc92131d96c" providerId="ADAL" clId="{E871B905-E2D9-4651-BB5B-07C41B3890F5}" dt="2023-02-01T09:12:46.197" v="172" actId="14100"/>
          <ac:picMkLst>
            <pc:docMk/>
            <pc:sldMk cId="399590516" sldId="531"/>
            <ac:picMk id="6" creationId="{7B4DB00A-62B8-1942-1529-E585C677E403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15:36.799" v="192" actId="1076"/>
        <pc:sldMkLst>
          <pc:docMk/>
          <pc:sldMk cId="1113706935" sldId="532"/>
        </pc:sldMkLst>
        <pc:spChg chg="del">
          <ac:chgData name="HADHRI Moncef" userId="895ef482-96ff-4dd4-9c74-0dc92131d96c" providerId="ADAL" clId="{E871B905-E2D9-4651-BB5B-07C41B3890F5}" dt="2023-02-01T09:13:37.615" v="174" actId="478"/>
          <ac:spMkLst>
            <pc:docMk/>
            <pc:sldMk cId="1113706935" sldId="532"/>
            <ac:spMk id="2" creationId="{9D2E1AD5-FB34-3DB8-AE1D-ADA3CB594478}"/>
          </ac:spMkLst>
        </pc:spChg>
        <pc:spChg chg="del">
          <ac:chgData name="HADHRI Moncef" userId="895ef482-96ff-4dd4-9c74-0dc92131d96c" providerId="ADAL" clId="{E871B905-E2D9-4651-BB5B-07C41B3890F5}" dt="2023-02-01T09:13:40.622" v="175" actId="478"/>
          <ac:spMkLst>
            <pc:docMk/>
            <pc:sldMk cId="1113706935" sldId="532"/>
            <ac:spMk id="3" creationId="{C2A8A98C-FC7F-4DC2-DBCD-D9219D0455B6}"/>
          </ac:spMkLst>
        </pc:spChg>
        <pc:picChg chg="del">
          <ac:chgData name="HADHRI Moncef" userId="895ef482-96ff-4dd4-9c74-0dc92131d96c" providerId="ADAL" clId="{E871B905-E2D9-4651-BB5B-07C41B3890F5}" dt="2023-02-01T09:13:36.007" v="173" actId="478"/>
          <ac:picMkLst>
            <pc:docMk/>
            <pc:sldMk cId="1113706935" sldId="532"/>
            <ac:picMk id="5" creationId="{FAD043B5-6E01-68FB-9D83-9387F93425B1}"/>
          </ac:picMkLst>
        </pc:picChg>
        <pc:picChg chg="add del mod">
          <ac:chgData name="HADHRI Moncef" userId="895ef482-96ff-4dd4-9c74-0dc92131d96c" providerId="ADAL" clId="{E871B905-E2D9-4651-BB5B-07C41B3890F5}" dt="2023-02-01T09:14:40.070" v="178" actId="478"/>
          <ac:picMkLst>
            <pc:docMk/>
            <pc:sldMk cId="1113706935" sldId="532"/>
            <ac:picMk id="6" creationId="{7C3D2CE0-42BA-BC84-B99F-A81DCCE35420}"/>
          </ac:picMkLst>
        </pc:picChg>
        <pc:picChg chg="add del mod">
          <ac:chgData name="HADHRI Moncef" userId="895ef482-96ff-4dd4-9c74-0dc92131d96c" providerId="ADAL" clId="{E871B905-E2D9-4651-BB5B-07C41B3890F5}" dt="2023-02-01T09:15:25.454" v="188" actId="478"/>
          <ac:picMkLst>
            <pc:docMk/>
            <pc:sldMk cId="1113706935" sldId="532"/>
            <ac:picMk id="9" creationId="{0494E00F-5F8C-0694-BF1A-582383B3521B}"/>
          </ac:picMkLst>
        </pc:picChg>
        <pc:picChg chg="add mod">
          <ac:chgData name="HADHRI Moncef" userId="895ef482-96ff-4dd4-9c74-0dc92131d96c" providerId="ADAL" clId="{E871B905-E2D9-4651-BB5B-07C41B3890F5}" dt="2023-02-01T09:15:36.799" v="192" actId="1076"/>
          <ac:picMkLst>
            <pc:docMk/>
            <pc:sldMk cId="1113706935" sldId="532"/>
            <ac:picMk id="10" creationId="{7C3D2CE0-42BA-BC84-B99F-A81DCCE35420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52:59.094" v="274" actId="1076"/>
        <pc:sldMkLst>
          <pc:docMk/>
          <pc:sldMk cId="160286315" sldId="533"/>
        </pc:sldMkLst>
        <pc:spChg chg="del">
          <ac:chgData name="HADHRI Moncef" userId="895ef482-96ff-4dd4-9c74-0dc92131d96c" providerId="ADAL" clId="{E871B905-E2D9-4651-BB5B-07C41B3890F5}" dt="2023-02-01T09:52:51.199" v="271" actId="478"/>
          <ac:spMkLst>
            <pc:docMk/>
            <pc:sldMk cId="160286315" sldId="533"/>
            <ac:spMk id="4" creationId="{DD23CFD2-BD99-9ACF-2078-FEB73E19D136}"/>
          </ac:spMkLst>
        </pc:spChg>
        <pc:spChg chg="del">
          <ac:chgData name="HADHRI Moncef" userId="895ef482-96ff-4dd4-9c74-0dc92131d96c" providerId="ADAL" clId="{E871B905-E2D9-4651-BB5B-07C41B3890F5}" dt="2023-02-01T09:52:25.341" v="270" actId="478"/>
          <ac:spMkLst>
            <pc:docMk/>
            <pc:sldMk cId="160286315" sldId="533"/>
            <ac:spMk id="5" creationId="{4230765E-CE0F-FE3C-F256-7BFCC86EB2B7}"/>
          </ac:spMkLst>
        </pc:spChg>
        <pc:picChg chg="del">
          <ac:chgData name="HADHRI Moncef" userId="895ef482-96ff-4dd4-9c74-0dc92131d96c" providerId="ADAL" clId="{E871B905-E2D9-4651-BB5B-07C41B3890F5}" dt="2023-02-01T09:52:21.311" v="269" actId="478"/>
          <ac:picMkLst>
            <pc:docMk/>
            <pc:sldMk cId="160286315" sldId="533"/>
            <ac:picMk id="6" creationId="{0C29D9AE-8261-763A-CD5A-FAE05BD05D60}"/>
          </ac:picMkLst>
        </pc:picChg>
        <pc:picChg chg="add mod">
          <ac:chgData name="HADHRI Moncef" userId="895ef482-96ff-4dd4-9c74-0dc92131d96c" providerId="ADAL" clId="{E871B905-E2D9-4651-BB5B-07C41B3890F5}" dt="2023-02-01T09:52:59.094" v="274" actId="1076"/>
          <ac:picMkLst>
            <pc:docMk/>
            <pc:sldMk cId="160286315" sldId="533"/>
            <ac:picMk id="7" creationId="{FE7E5F10-B59C-6B66-8D9D-AE4AFFECED37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54:23.363" v="281" actId="1076"/>
        <pc:sldMkLst>
          <pc:docMk/>
          <pc:sldMk cId="3408810239" sldId="534"/>
        </pc:sldMkLst>
        <pc:spChg chg="del">
          <ac:chgData name="HADHRI Moncef" userId="895ef482-96ff-4dd4-9c74-0dc92131d96c" providerId="ADAL" clId="{E871B905-E2D9-4651-BB5B-07C41B3890F5}" dt="2023-02-01T09:53:52.651" v="275" actId="478"/>
          <ac:spMkLst>
            <pc:docMk/>
            <pc:sldMk cId="3408810239" sldId="534"/>
            <ac:spMk id="3" creationId="{5D9DAD2A-7831-E8D9-C550-2B95DB139A22}"/>
          </ac:spMkLst>
        </pc:spChg>
        <pc:spChg chg="del">
          <ac:chgData name="HADHRI Moncef" userId="895ef482-96ff-4dd4-9c74-0dc92131d96c" providerId="ADAL" clId="{E871B905-E2D9-4651-BB5B-07C41B3890F5}" dt="2023-02-01T09:53:54.601" v="276" actId="478"/>
          <ac:spMkLst>
            <pc:docMk/>
            <pc:sldMk cId="3408810239" sldId="534"/>
            <ac:spMk id="6" creationId="{6A9F2BC4-DD4B-6649-6B7F-0F1E2E6718C3}"/>
          </ac:spMkLst>
        </pc:spChg>
        <pc:picChg chg="del">
          <ac:chgData name="HADHRI Moncef" userId="895ef482-96ff-4dd4-9c74-0dc92131d96c" providerId="ADAL" clId="{E871B905-E2D9-4651-BB5B-07C41B3890F5}" dt="2023-02-01T09:54:13.284" v="277" actId="478"/>
          <ac:picMkLst>
            <pc:docMk/>
            <pc:sldMk cId="3408810239" sldId="534"/>
            <ac:picMk id="5" creationId="{91AF19FC-F1B2-6FE8-442C-959259E42A88}"/>
          </ac:picMkLst>
        </pc:picChg>
        <pc:picChg chg="add mod">
          <ac:chgData name="HADHRI Moncef" userId="895ef482-96ff-4dd4-9c74-0dc92131d96c" providerId="ADAL" clId="{E871B905-E2D9-4651-BB5B-07C41B3890F5}" dt="2023-02-01T09:54:23.363" v="281" actId="1076"/>
          <ac:picMkLst>
            <pc:docMk/>
            <pc:sldMk cId="3408810239" sldId="534"/>
            <ac:picMk id="7" creationId="{6574FF07-674E-4C05-B854-9FC0294B4F54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27:14.719" v="343" actId="1076"/>
        <pc:sldMkLst>
          <pc:docMk/>
          <pc:sldMk cId="1580970320" sldId="536"/>
        </pc:sldMkLst>
        <pc:spChg chg="del">
          <ac:chgData name="HADHRI Moncef" userId="895ef482-96ff-4dd4-9c74-0dc92131d96c" providerId="ADAL" clId="{E871B905-E2D9-4651-BB5B-07C41B3890F5}" dt="2023-02-01T10:27:05.726" v="338" actId="478"/>
          <ac:spMkLst>
            <pc:docMk/>
            <pc:sldMk cId="1580970320" sldId="536"/>
            <ac:spMk id="3" creationId="{C91D13CA-678B-0EAF-A5F9-DF2CF85D86AE}"/>
          </ac:spMkLst>
        </pc:spChg>
        <pc:spChg chg="del">
          <ac:chgData name="HADHRI Moncef" userId="895ef482-96ff-4dd4-9c74-0dc92131d96c" providerId="ADAL" clId="{E871B905-E2D9-4651-BB5B-07C41B3890F5}" dt="2023-02-01T10:27:07.193" v="339" actId="478"/>
          <ac:spMkLst>
            <pc:docMk/>
            <pc:sldMk cId="1580970320" sldId="536"/>
            <ac:spMk id="4" creationId="{CE10B3B2-05EC-449E-7857-796D9C85BE8B}"/>
          </ac:spMkLst>
        </pc:spChg>
        <pc:picChg chg="del">
          <ac:chgData name="HADHRI Moncef" userId="895ef482-96ff-4dd4-9c74-0dc92131d96c" providerId="ADAL" clId="{E871B905-E2D9-4651-BB5B-07C41B3890F5}" dt="2023-02-01T10:27:02.239" v="337" actId="478"/>
          <ac:picMkLst>
            <pc:docMk/>
            <pc:sldMk cId="1580970320" sldId="536"/>
            <ac:picMk id="6" creationId="{2AB3612A-924A-467B-AA74-672D5FBC3446}"/>
          </ac:picMkLst>
        </pc:picChg>
        <pc:picChg chg="add mod">
          <ac:chgData name="HADHRI Moncef" userId="895ef482-96ff-4dd4-9c74-0dc92131d96c" providerId="ADAL" clId="{E871B905-E2D9-4651-BB5B-07C41B3890F5}" dt="2023-02-01T10:27:14.719" v="343" actId="1076"/>
          <ac:picMkLst>
            <pc:docMk/>
            <pc:sldMk cId="1580970320" sldId="536"/>
            <ac:picMk id="7" creationId="{929C68C8-BDF3-B292-F88A-FF7D57CEDB4A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30:23.474" v="359" actId="1076"/>
        <pc:sldMkLst>
          <pc:docMk/>
          <pc:sldMk cId="3992291547" sldId="537"/>
        </pc:sldMkLst>
        <pc:spChg chg="del">
          <ac:chgData name="HADHRI Moncef" userId="895ef482-96ff-4dd4-9c74-0dc92131d96c" providerId="ADAL" clId="{E871B905-E2D9-4651-BB5B-07C41B3890F5}" dt="2023-02-01T10:30:12.051" v="354" actId="478"/>
          <ac:spMkLst>
            <pc:docMk/>
            <pc:sldMk cId="3992291547" sldId="537"/>
            <ac:spMk id="3" creationId="{F3163274-6207-AA76-89D3-FEFD26416209}"/>
          </ac:spMkLst>
        </pc:spChg>
        <pc:spChg chg="del">
          <ac:chgData name="HADHRI Moncef" userId="895ef482-96ff-4dd4-9c74-0dc92131d96c" providerId="ADAL" clId="{E871B905-E2D9-4651-BB5B-07C41B3890F5}" dt="2023-02-01T10:30:18.163" v="356" actId="478"/>
          <ac:spMkLst>
            <pc:docMk/>
            <pc:sldMk cId="3992291547" sldId="537"/>
            <ac:spMk id="4" creationId="{C8810D28-05DD-3D9F-836F-39006829B94B}"/>
          </ac:spMkLst>
        </pc:spChg>
        <pc:picChg chg="add mod">
          <ac:chgData name="HADHRI Moncef" userId="895ef482-96ff-4dd4-9c74-0dc92131d96c" providerId="ADAL" clId="{E871B905-E2D9-4651-BB5B-07C41B3890F5}" dt="2023-02-01T10:30:23.474" v="359" actId="1076"/>
          <ac:picMkLst>
            <pc:docMk/>
            <pc:sldMk cId="3992291547" sldId="537"/>
            <ac:picMk id="6" creationId="{05C4FEC4-BE7F-9FF4-7E17-C6109C4B2564}"/>
          </ac:picMkLst>
        </pc:picChg>
        <pc:picChg chg="del">
          <ac:chgData name="HADHRI Moncef" userId="895ef482-96ff-4dd4-9c74-0dc92131d96c" providerId="ADAL" clId="{E871B905-E2D9-4651-BB5B-07C41B3890F5}" dt="2023-02-01T10:30:10.347" v="353" actId="478"/>
          <ac:picMkLst>
            <pc:docMk/>
            <pc:sldMk cId="3992291547" sldId="537"/>
            <ac:picMk id="8" creationId="{F1E5C9D8-3C7B-46B9-BA2F-D1BC146DFCD9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40:39.659" v="412" actId="1076"/>
        <pc:sldMkLst>
          <pc:docMk/>
          <pc:sldMk cId="4234730277" sldId="538"/>
        </pc:sldMkLst>
        <pc:spChg chg="del">
          <ac:chgData name="HADHRI Moncef" userId="895ef482-96ff-4dd4-9c74-0dc92131d96c" providerId="ADAL" clId="{E871B905-E2D9-4651-BB5B-07C41B3890F5}" dt="2023-02-01T10:31:11.018" v="361" actId="478"/>
          <ac:spMkLst>
            <pc:docMk/>
            <pc:sldMk cId="4234730277" sldId="538"/>
            <ac:spMk id="3" creationId="{59218F57-2F9C-AC9A-6A4E-FE7FC32CE3FC}"/>
          </ac:spMkLst>
        </pc:spChg>
        <pc:spChg chg="del">
          <ac:chgData name="HADHRI Moncef" userId="895ef482-96ff-4dd4-9c74-0dc92131d96c" providerId="ADAL" clId="{E871B905-E2D9-4651-BB5B-07C41B3890F5}" dt="2023-02-01T10:31:12.353" v="362" actId="478"/>
          <ac:spMkLst>
            <pc:docMk/>
            <pc:sldMk cId="4234730277" sldId="538"/>
            <ac:spMk id="4" creationId="{D4F18D8B-55AE-25D5-C0BD-7406C52E350E}"/>
          </ac:spMkLst>
        </pc:spChg>
        <pc:picChg chg="del">
          <ac:chgData name="HADHRI Moncef" userId="895ef482-96ff-4dd4-9c74-0dc92131d96c" providerId="ADAL" clId="{E871B905-E2D9-4651-BB5B-07C41B3890F5}" dt="2023-02-01T10:31:07.683" v="360" actId="478"/>
          <ac:picMkLst>
            <pc:docMk/>
            <pc:sldMk cId="4234730277" sldId="538"/>
            <ac:picMk id="5" creationId="{D3757171-1B63-7435-985F-0847B956BB6F}"/>
          </ac:picMkLst>
        </pc:picChg>
        <pc:picChg chg="add del mod">
          <ac:chgData name="HADHRI Moncef" userId="895ef482-96ff-4dd4-9c74-0dc92131d96c" providerId="ADAL" clId="{E871B905-E2D9-4651-BB5B-07C41B3890F5}" dt="2023-02-01T10:31:32.263" v="367" actId="478"/>
          <ac:picMkLst>
            <pc:docMk/>
            <pc:sldMk cId="4234730277" sldId="538"/>
            <ac:picMk id="7" creationId="{A42AC5DC-B319-FCA5-85AB-F73C8AF2346A}"/>
          </ac:picMkLst>
        </pc:picChg>
        <pc:picChg chg="add mod">
          <ac:chgData name="HADHRI Moncef" userId="895ef482-96ff-4dd4-9c74-0dc92131d96c" providerId="ADAL" clId="{E871B905-E2D9-4651-BB5B-07C41B3890F5}" dt="2023-02-01T10:40:39.659" v="412" actId="1076"/>
          <ac:picMkLst>
            <pc:docMk/>
            <pc:sldMk cId="4234730277" sldId="538"/>
            <ac:picMk id="9" creationId="{02DFA5D5-3830-CD53-9F58-15D2FC5810E8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34:00.158" v="388" actId="1076"/>
        <pc:sldMkLst>
          <pc:docMk/>
          <pc:sldMk cId="4125945156" sldId="539"/>
        </pc:sldMkLst>
        <pc:spChg chg="del">
          <ac:chgData name="HADHRI Moncef" userId="895ef482-96ff-4dd4-9c74-0dc92131d96c" providerId="ADAL" clId="{E871B905-E2D9-4651-BB5B-07C41B3890F5}" dt="2023-02-01T10:33:50.935" v="383" actId="478"/>
          <ac:spMkLst>
            <pc:docMk/>
            <pc:sldMk cId="4125945156" sldId="539"/>
            <ac:spMk id="3" creationId="{19E2F089-3787-BB99-ED01-746EEBBA91E3}"/>
          </ac:spMkLst>
        </pc:spChg>
        <pc:spChg chg="del">
          <ac:chgData name="HADHRI Moncef" userId="895ef482-96ff-4dd4-9c74-0dc92131d96c" providerId="ADAL" clId="{E871B905-E2D9-4651-BB5B-07C41B3890F5}" dt="2023-02-01T10:33:52.535" v="384" actId="478"/>
          <ac:spMkLst>
            <pc:docMk/>
            <pc:sldMk cId="4125945156" sldId="539"/>
            <ac:spMk id="4" creationId="{DB64EFAA-E967-D526-C87F-E75AD7AC9D43}"/>
          </ac:spMkLst>
        </pc:spChg>
        <pc:picChg chg="del">
          <ac:chgData name="HADHRI Moncef" userId="895ef482-96ff-4dd4-9c74-0dc92131d96c" providerId="ADAL" clId="{E871B905-E2D9-4651-BB5B-07C41B3890F5}" dt="2023-02-01T10:33:49.550" v="382" actId="478"/>
          <ac:picMkLst>
            <pc:docMk/>
            <pc:sldMk cId="4125945156" sldId="539"/>
            <ac:picMk id="5" creationId="{FB5C8A9E-4B85-D604-1B1E-B1DEDED733FB}"/>
          </ac:picMkLst>
        </pc:picChg>
        <pc:picChg chg="add mod">
          <ac:chgData name="HADHRI Moncef" userId="895ef482-96ff-4dd4-9c74-0dc92131d96c" providerId="ADAL" clId="{E871B905-E2D9-4651-BB5B-07C41B3890F5}" dt="2023-02-01T10:34:00.158" v="388" actId="1076"/>
          <ac:picMkLst>
            <pc:docMk/>
            <pc:sldMk cId="4125945156" sldId="539"/>
            <ac:picMk id="7" creationId="{682BFB9B-3282-ABBF-ADBF-BEA5DAD8390B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35:39.126" v="397" actId="1076"/>
        <pc:sldMkLst>
          <pc:docMk/>
          <pc:sldMk cId="1691932536" sldId="540"/>
        </pc:sldMkLst>
        <pc:spChg chg="del mod">
          <ac:chgData name="HADHRI Moncef" userId="895ef482-96ff-4dd4-9c74-0dc92131d96c" providerId="ADAL" clId="{E871B905-E2D9-4651-BB5B-07C41B3890F5}" dt="2023-02-01T10:35:30.670" v="392" actId="478"/>
          <ac:spMkLst>
            <pc:docMk/>
            <pc:sldMk cId="1691932536" sldId="540"/>
            <ac:spMk id="3" creationId="{B3ED357A-CA44-D38C-B1A4-46E5947724C4}"/>
          </ac:spMkLst>
        </pc:spChg>
        <pc:spChg chg="del">
          <ac:chgData name="HADHRI Moncef" userId="895ef482-96ff-4dd4-9c74-0dc92131d96c" providerId="ADAL" clId="{E871B905-E2D9-4651-BB5B-07C41B3890F5}" dt="2023-02-01T10:35:29.237" v="391" actId="478"/>
          <ac:spMkLst>
            <pc:docMk/>
            <pc:sldMk cId="1691932536" sldId="540"/>
            <ac:spMk id="4" creationId="{FA6D384E-611B-9A79-3059-A09E1C19BFA5}"/>
          </ac:spMkLst>
        </pc:spChg>
        <pc:picChg chg="add mod">
          <ac:chgData name="HADHRI Moncef" userId="895ef482-96ff-4dd4-9c74-0dc92131d96c" providerId="ADAL" clId="{E871B905-E2D9-4651-BB5B-07C41B3890F5}" dt="2023-02-01T10:35:39.126" v="397" actId="1076"/>
          <ac:picMkLst>
            <pc:docMk/>
            <pc:sldMk cId="1691932536" sldId="540"/>
            <ac:picMk id="6" creationId="{B7E603A0-3C9C-853E-24D5-C7F130D67BC9}"/>
          </ac:picMkLst>
        </pc:picChg>
        <pc:picChg chg="del">
          <ac:chgData name="HADHRI Moncef" userId="895ef482-96ff-4dd4-9c74-0dc92131d96c" providerId="ADAL" clId="{E871B905-E2D9-4651-BB5B-07C41B3890F5}" dt="2023-02-01T10:35:23.998" v="389" actId="478"/>
          <ac:picMkLst>
            <pc:docMk/>
            <pc:sldMk cId="1691932536" sldId="540"/>
            <ac:picMk id="7" creationId="{80E367FF-C9FB-42D3-9500-EBD13E7CC28E}"/>
          </ac:picMkLst>
        </pc:picChg>
      </pc:sldChg>
      <pc:sldChg chg="add">
        <pc:chgData name="HADHRI Moncef" userId="895ef482-96ff-4dd4-9c74-0dc92131d96c" providerId="ADAL" clId="{E871B905-E2D9-4651-BB5B-07C41B3890F5}" dt="2023-02-03T09:59:51.961" v="507"/>
        <pc:sldMkLst>
          <pc:docMk/>
          <pc:sldMk cId="1239266114" sldId="541"/>
        </pc:sldMkLst>
      </pc:sldChg>
      <pc:sldChg chg="addSp delSp modSp del mod">
        <pc:chgData name="HADHRI Moncef" userId="895ef482-96ff-4dd4-9c74-0dc92131d96c" providerId="ADAL" clId="{E871B905-E2D9-4651-BB5B-07C41B3890F5}" dt="2023-02-03T09:59:43.243" v="506" actId="47"/>
        <pc:sldMkLst>
          <pc:docMk/>
          <pc:sldMk cId="1967626632" sldId="541"/>
        </pc:sldMkLst>
        <pc:spChg chg="del">
          <ac:chgData name="HADHRI Moncef" userId="895ef482-96ff-4dd4-9c74-0dc92131d96c" providerId="ADAL" clId="{E871B905-E2D9-4651-BB5B-07C41B3890F5}" dt="2023-02-01T10:42:39.614" v="416" actId="478"/>
          <ac:spMkLst>
            <pc:docMk/>
            <pc:sldMk cId="1967626632" sldId="541"/>
            <ac:spMk id="4" creationId="{D7BDEEA7-0A90-793B-AF75-9295B0C5D37B}"/>
          </ac:spMkLst>
        </pc:spChg>
        <pc:spChg chg="del">
          <ac:chgData name="HADHRI Moncef" userId="895ef482-96ff-4dd4-9c74-0dc92131d96c" providerId="ADAL" clId="{E871B905-E2D9-4651-BB5B-07C41B3890F5}" dt="2023-02-01T10:42:38.300" v="415" actId="478"/>
          <ac:spMkLst>
            <pc:docMk/>
            <pc:sldMk cId="1967626632" sldId="541"/>
            <ac:spMk id="5" creationId="{5C140230-FC52-D2CC-7D24-5761BED6E3FC}"/>
          </ac:spMkLst>
        </pc:spChg>
        <pc:spChg chg="del">
          <ac:chgData name="HADHRI Moncef" userId="895ef482-96ff-4dd4-9c74-0dc92131d96c" providerId="ADAL" clId="{E871B905-E2D9-4651-BB5B-07C41B3890F5}" dt="2023-02-01T10:42:36.348" v="413" actId="478"/>
          <ac:spMkLst>
            <pc:docMk/>
            <pc:sldMk cId="1967626632" sldId="541"/>
            <ac:spMk id="6" creationId="{13E573F3-A8B9-AF76-7EEC-E7F691690853}"/>
          </ac:spMkLst>
        </pc:spChg>
        <pc:picChg chg="del">
          <ac:chgData name="HADHRI Moncef" userId="895ef482-96ff-4dd4-9c74-0dc92131d96c" providerId="ADAL" clId="{E871B905-E2D9-4651-BB5B-07C41B3890F5}" dt="2023-02-01T10:42:40.215" v="417" actId="478"/>
          <ac:picMkLst>
            <pc:docMk/>
            <pc:sldMk cId="1967626632" sldId="541"/>
            <ac:picMk id="3" creationId="{605BA7B1-9738-3E28-14CB-3E1510935753}"/>
          </ac:picMkLst>
        </pc:picChg>
        <pc:picChg chg="del">
          <ac:chgData name="HADHRI Moncef" userId="895ef482-96ff-4dd4-9c74-0dc92131d96c" providerId="ADAL" clId="{E871B905-E2D9-4651-BB5B-07C41B3890F5}" dt="2023-02-01T10:42:36.963" v="414" actId="478"/>
          <ac:picMkLst>
            <pc:docMk/>
            <pc:sldMk cId="1967626632" sldId="541"/>
            <ac:picMk id="7" creationId="{26EAFACA-82B2-78FB-C937-59F54B9D5B85}"/>
          </ac:picMkLst>
        </pc:picChg>
        <pc:picChg chg="add mod">
          <ac:chgData name="HADHRI Moncef" userId="895ef482-96ff-4dd4-9c74-0dc92131d96c" providerId="ADAL" clId="{E871B905-E2D9-4651-BB5B-07C41B3890F5}" dt="2023-02-01T10:42:48.340" v="420" actId="1076"/>
          <ac:picMkLst>
            <pc:docMk/>
            <pc:sldMk cId="1967626632" sldId="541"/>
            <ac:picMk id="9" creationId="{504F2CBE-1DC4-8759-C38C-4801D0264F42}"/>
          </ac:picMkLst>
        </pc:picChg>
      </pc:sldChg>
      <pc:sldChg chg="add">
        <pc:chgData name="HADHRI Moncef" userId="895ef482-96ff-4dd4-9c74-0dc92131d96c" providerId="ADAL" clId="{E871B905-E2D9-4651-BB5B-07C41B3890F5}" dt="2023-02-03T09:59:51.961" v="507"/>
        <pc:sldMkLst>
          <pc:docMk/>
          <pc:sldMk cId="1153277864" sldId="542"/>
        </pc:sldMkLst>
      </pc:sldChg>
      <pc:sldChg chg="addSp delSp modSp del mod">
        <pc:chgData name="HADHRI Moncef" userId="895ef482-96ff-4dd4-9c74-0dc92131d96c" providerId="ADAL" clId="{E871B905-E2D9-4651-BB5B-07C41B3890F5}" dt="2023-02-03T09:59:43.243" v="506" actId="47"/>
        <pc:sldMkLst>
          <pc:docMk/>
          <pc:sldMk cId="2098206098" sldId="542"/>
        </pc:sldMkLst>
        <pc:spChg chg="del mod">
          <ac:chgData name="HADHRI Moncef" userId="895ef482-96ff-4dd4-9c74-0dc92131d96c" providerId="ADAL" clId="{E871B905-E2D9-4651-BB5B-07C41B3890F5}" dt="2023-02-01T10:44:17.519" v="422" actId="478"/>
          <ac:spMkLst>
            <pc:docMk/>
            <pc:sldMk cId="2098206098" sldId="542"/>
            <ac:spMk id="4" creationId="{F7D449F9-EA39-FF7E-9C71-F7961B5C5C72}"/>
          </ac:spMkLst>
        </pc:spChg>
        <pc:spChg chg="del">
          <ac:chgData name="HADHRI Moncef" userId="895ef482-96ff-4dd4-9c74-0dc92131d96c" providerId="ADAL" clId="{E871B905-E2D9-4651-BB5B-07C41B3890F5}" dt="2023-02-01T10:44:17.519" v="422" actId="478"/>
          <ac:spMkLst>
            <pc:docMk/>
            <pc:sldMk cId="2098206098" sldId="542"/>
            <ac:spMk id="5" creationId="{6B7FBB1D-BA12-C23E-9525-169602284BB9}"/>
          </ac:spMkLst>
        </pc:spChg>
        <pc:spChg chg="del mod">
          <ac:chgData name="HADHRI Moncef" userId="895ef482-96ff-4dd4-9c74-0dc92131d96c" providerId="ADAL" clId="{E871B905-E2D9-4651-BB5B-07C41B3890F5}" dt="2023-02-01T10:44:17.519" v="422" actId="478"/>
          <ac:spMkLst>
            <pc:docMk/>
            <pc:sldMk cId="2098206098" sldId="542"/>
            <ac:spMk id="6" creationId="{892D3FEE-CF7A-642C-FC02-7FA9B028D4EB}"/>
          </ac:spMkLst>
        </pc:spChg>
        <pc:picChg chg="del">
          <ac:chgData name="HADHRI Moncef" userId="895ef482-96ff-4dd4-9c74-0dc92131d96c" providerId="ADAL" clId="{E871B905-E2D9-4651-BB5B-07C41B3890F5}" dt="2023-02-01T10:44:18.223" v="423" actId="478"/>
          <ac:picMkLst>
            <pc:docMk/>
            <pc:sldMk cId="2098206098" sldId="542"/>
            <ac:picMk id="3" creationId="{AD038B5E-7202-D4E4-9CB1-D4B18EC3801C}"/>
          </ac:picMkLst>
        </pc:picChg>
        <pc:picChg chg="del">
          <ac:chgData name="HADHRI Moncef" userId="895ef482-96ff-4dd4-9c74-0dc92131d96c" providerId="ADAL" clId="{E871B905-E2D9-4651-BB5B-07C41B3890F5}" dt="2023-02-01T10:44:17.519" v="422" actId="478"/>
          <ac:picMkLst>
            <pc:docMk/>
            <pc:sldMk cId="2098206098" sldId="542"/>
            <ac:picMk id="7" creationId="{65DA7361-A818-AB22-8F54-D2BFC37846EE}"/>
          </ac:picMkLst>
        </pc:picChg>
        <pc:picChg chg="add mod">
          <ac:chgData name="HADHRI Moncef" userId="895ef482-96ff-4dd4-9c74-0dc92131d96c" providerId="ADAL" clId="{E871B905-E2D9-4651-BB5B-07C41B3890F5}" dt="2023-02-01T10:44:28.456" v="428" actId="1076"/>
          <ac:picMkLst>
            <pc:docMk/>
            <pc:sldMk cId="2098206098" sldId="542"/>
            <ac:picMk id="9" creationId="{AD69B42B-6EAF-5976-3B9E-6C7312575103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0:50:41.262" v="464" actId="1076"/>
        <pc:sldMkLst>
          <pc:docMk/>
          <pc:sldMk cId="3458925768" sldId="543"/>
        </pc:sldMkLst>
        <pc:spChg chg="del">
          <ac:chgData name="HADHRI Moncef" userId="895ef482-96ff-4dd4-9c74-0dc92131d96c" providerId="ADAL" clId="{E871B905-E2D9-4651-BB5B-07C41B3890F5}" dt="2023-02-01T10:50:31.609" v="459" actId="478"/>
          <ac:spMkLst>
            <pc:docMk/>
            <pc:sldMk cId="3458925768" sldId="543"/>
            <ac:spMk id="4" creationId="{52F94552-B039-21DF-82DA-E9861BD62DD8}"/>
          </ac:spMkLst>
        </pc:spChg>
        <pc:spChg chg="del">
          <ac:chgData name="HADHRI Moncef" userId="895ef482-96ff-4dd4-9c74-0dc92131d96c" providerId="ADAL" clId="{E871B905-E2D9-4651-BB5B-07C41B3890F5}" dt="2023-02-01T10:50:31.609" v="459" actId="478"/>
          <ac:spMkLst>
            <pc:docMk/>
            <pc:sldMk cId="3458925768" sldId="543"/>
            <ac:spMk id="5" creationId="{9BD98C50-09CE-E772-2A8E-9940999D6B80}"/>
          </ac:spMkLst>
        </pc:spChg>
        <pc:spChg chg="del">
          <ac:chgData name="HADHRI Moncef" userId="895ef482-96ff-4dd4-9c74-0dc92131d96c" providerId="ADAL" clId="{E871B905-E2D9-4651-BB5B-07C41B3890F5}" dt="2023-02-01T10:50:31.609" v="459" actId="478"/>
          <ac:spMkLst>
            <pc:docMk/>
            <pc:sldMk cId="3458925768" sldId="543"/>
            <ac:spMk id="6" creationId="{B09DD124-32E6-D9D0-288B-F0D7A8D1B859}"/>
          </ac:spMkLst>
        </pc:spChg>
        <pc:picChg chg="del">
          <ac:chgData name="HADHRI Moncef" userId="895ef482-96ff-4dd4-9c74-0dc92131d96c" providerId="ADAL" clId="{E871B905-E2D9-4651-BB5B-07C41B3890F5}" dt="2023-02-01T10:50:26.953" v="458" actId="478"/>
          <ac:picMkLst>
            <pc:docMk/>
            <pc:sldMk cId="3458925768" sldId="543"/>
            <ac:picMk id="3" creationId="{C7EDC13D-7DDF-3599-EDD8-D1245D102EF5}"/>
          </ac:picMkLst>
        </pc:picChg>
        <pc:picChg chg="del">
          <ac:chgData name="HADHRI Moncef" userId="895ef482-96ff-4dd4-9c74-0dc92131d96c" providerId="ADAL" clId="{E871B905-E2D9-4651-BB5B-07C41B3890F5}" dt="2023-02-01T10:50:31.609" v="459" actId="478"/>
          <ac:picMkLst>
            <pc:docMk/>
            <pc:sldMk cId="3458925768" sldId="543"/>
            <ac:picMk id="7" creationId="{11379395-7AE4-D9C2-C491-F462D9F568C7}"/>
          </ac:picMkLst>
        </pc:picChg>
        <pc:picChg chg="add mod">
          <ac:chgData name="HADHRI Moncef" userId="895ef482-96ff-4dd4-9c74-0dc92131d96c" providerId="ADAL" clId="{E871B905-E2D9-4651-BB5B-07C41B3890F5}" dt="2023-02-01T10:50:41.262" v="464" actId="1076"/>
          <ac:picMkLst>
            <pc:docMk/>
            <pc:sldMk cId="3458925768" sldId="543"/>
            <ac:picMk id="9" creationId="{B201F91F-F738-E4B7-2899-B1248AF4352E}"/>
          </ac:picMkLst>
        </pc:picChg>
      </pc:sldChg>
      <pc:sldChg chg="addSp delSp modSp del mod">
        <pc:chgData name="HADHRI Moncef" userId="895ef482-96ff-4dd4-9c74-0dc92131d96c" providerId="ADAL" clId="{E871B905-E2D9-4651-BB5B-07C41B3890F5}" dt="2023-02-03T10:00:12.107" v="510" actId="47"/>
        <pc:sldMkLst>
          <pc:docMk/>
          <pc:sldMk cId="2211920524" sldId="544"/>
        </pc:sldMkLst>
        <pc:spChg chg="del">
          <ac:chgData name="HADHRI Moncef" userId="895ef482-96ff-4dd4-9c74-0dc92131d96c" providerId="ADAL" clId="{E871B905-E2D9-4651-BB5B-07C41B3890F5}" dt="2023-02-01T10:51:34.207" v="465" actId="478"/>
          <ac:spMkLst>
            <pc:docMk/>
            <pc:sldMk cId="2211920524" sldId="544"/>
            <ac:spMk id="4" creationId="{69F29E2E-480D-E7D8-8490-6878FE1DBF55}"/>
          </ac:spMkLst>
        </pc:spChg>
        <pc:spChg chg="del">
          <ac:chgData name="HADHRI Moncef" userId="895ef482-96ff-4dd4-9c74-0dc92131d96c" providerId="ADAL" clId="{E871B905-E2D9-4651-BB5B-07C41B3890F5}" dt="2023-02-01T10:51:34.207" v="465" actId="478"/>
          <ac:spMkLst>
            <pc:docMk/>
            <pc:sldMk cId="2211920524" sldId="544"/>
            <ac:spMk id="5" creationId="{DCF854C8-5D9A-8853-DE8B-6D2CBC6B0FDB}"/>
          </ac:spMkLst>
        </pc:spChg>
        <pc:spChg chg="del">
          <ac:chgData name="HADHRI Moncef" userId="895ef482-96ff-4dd4-9c74-0dc92131d96c" providerId="ADAL" clId="{E871B905-E2D9-4651-BB5B-07C41B3890F5}" dt="2023-02-01T10:51:34.207" v="465" actId="478"/>
          <ac:spMkLst>
            <pc:docMk/>
            <pc:sldMk cId="2211920524" sldId="544"/>
            <ac:spMk id="6" creationId="{798961DA-6820-08B9-782D-4512DEF8BC6B}"/>
          </ac:spMkLst>
        </pc:spChg>
        <pc:picChg chg="del">
          <ac:chgData name="HADHRI Moncef" userId="895ef482-96ff-4dd4-9c74-0dc92131d96c" providerId="ADAL" clId="{E871B905-E2D9-4651-BB5B-07C41B3890F5}" dt="2023-02-01T10:51:35.074" v="466" actId="478"/>
          <ac:picMkLst>
            <pc:docMk/>
            <pc:sldMk cId="2211920524" sldId="544"/>
            <ac:picMk id="3" creationId="{AB6887B8-40AA-0B78-E582-BB7D80756632}"/>
          </ac:picMkLst>
        </pc:picChg>
        <pc:picChg chg="del">
          <ac:chgData name="HADHRI Moncef" userId="895ef482-96ff-4dd4-9c74-0dc92131d96c" providerId="ADAL" clId="{E871B905-E2D9-4651-BB5B-07C41B3890F5}" dt="2023-02-01T10:51:34.207" v="465" actId="478"/>
          <ac:picMkLst>
            <pc:docMk/>
            <pc:sldMk cId="2211920524" sldId="544"/>
            <ac:picMk id="7" creationId="{09D901E2-DF63-6D4F-3140-5456E0ECBF5F}"/>
          </ac:picMkLst>
        </pc:picChg>
        <pc:picChg chg="add mod">
          <ac:chgData name="HADHRI Moncef" userId="895ef482-96ff-4dd4-9c74-0dc92131d96c" providerId="ADAL" clId="{E871B905-E2D9-4651-BB5B-07C41B3890F5}" dt="2023-02-01T10:51:42.408" v="469" actId="1076"/>
          <ac:picMkLst>
            <pc:docMk/>
            <pc:sldMk cId="2211920524" sldId="544"/>
            <ac:picMk id="9" creationId="{161BB87A-EE81-69DE-F1B1-A22F7CBAEFED}"/>
          </ac:picMkLst>
        </pc:picChg>
      </pc:sldChg>
      <pc:sldChg chg="addSp delSp modSp del mod">
        <pc:chgData name="HADHRI Moncef" userId="895ef482-96ff-4dd4-9c74-0dc92131d96c" providerId="ADAL" clId="{E871B905-E2D9-4651-BB5B-07C41B3890F5}" dt="2023-02-03T10:00:22.279" v="512" actId="47"/>
        <pc:sldMkLst>
          <pc:docMk/>
          <pc:sldMk cId="2626064658" sldId="545"/>
        </pc:sldMkLst>
        <pc:spChg chg="del">
          <ac:chgData name="HADHRI Moncef" userId="895ef482-96ff-4dd4-9c74-0dc92131d96c" providerId="ADAL" clId="{E871B905-E2D9-4651-BB5B-07C41B3890F5}" dt="2023-02-01T10:52:29.521" v="471" actId="478"/>
          <ac:spMkLst>
            <pc:docMk/>
            <pc:sldMk cId="2626064658" sldId="545"/>
            <ac:spMk id="4" creationId="{A87FE413-FB82-F573-1798-A975FC5360D2}"/>
          </ac:spMkLst>
        </pc:spChg>
        <pc:spChg chg="del">
          <ac:chgData name="HADHRI Moncef" userId="895ef482-96ff-4dd4-9c74-0dc92131d96c" providerId="ADAL" clId="{E871B905-E2D9-4651-BB5B-07C41B3890F5}" dt="2023-02-01T10:52:29.521" v="471" actId="478"/>
          <ac:spMkLst>
            <pc:docMk/>
            <pc:sldMk cId="2626064658" sldId="545"/>
            <ac:spMk id="5" creationId="{71350093-2267-453E-C94D-1633120CE765}"/>
          </ac:spMkLst>
        </pc:spChg>
        <pc:spChg chg="del">
          <ac:chgData name="HADHRI Moncef" userId="895ef482-96ff-4dd4-9c74-0dc92131d96c" providerId="ADAL" clId="{E871B905-E2D9-4651-BB5B-07C41B3890F5}" dt="2023-02-01T10:52:29.521" v="471" actId="478"/>
          <ac:spMkLst>
            <pc:docMk/>
            <pc:sldMk cId="2626064658" sldId="545"/>
            <ac:spMk id="6" creationId="{C5D7CE24-60CB-B783-D585-A564435E1A14}"/>
          </ac:spMkLst>
        </pc:spChg>
        <pc:picChg chg="del">
          <ac:chgData name="HADHRI Moncef" userId="895ef482-96ff-4dd4-9c74-0dc92131d96c" providerId="ADAL" clId="{E871B905-E2D9-4651-BB5B-07C41B3890F5}" dt="2023-02-01T10:52:22.208" v="470" actId="478"/>
          <ac:picMkLst>
            <pc:docMk/>
            <pc:sldMk cId="2626064658" sldId="545"/>
            <ac:picMk id="3" creationId="{B3E19EE0-F455-E0F1-CF93-E51516FA4A98}"/>
          </ac:picMkLst>
        </pc:picChg>
        <pc:picChg chg="del">
          <ac:chgData name="HADHRI Moncef" userId="895ef482-96ff-4dd4-9c74-0dc92131d96c" providerId="ADAL" clId="{E871B905-E2D9-4651-BB5B-07C41B3890F5}" dt="2023-02-01T10:52:29.521" v="471" actId="478"/>
          <ac:picMkLst>
            <pc:docMk/>
            <pc:sldMk cId="2626064658" sldId="545"/>
            <ac:picMk id="7" creationId="{75C7ECEB-858F-3CD3-C46B-4EBF5F5145A3}"/>
          </ac:picMkLst>
        </pc:picChg>
        <pc:picChg chg="add mod">
          <ac:chgData name="HADHRI Moncef" userId="895ef482-96ff-4dd4-9c74-0dc92131d96c" providerId="ADAL" clId="{E871B905-E2D9-4651-BB5B-07C41B3890F5}" dt="2023-02-01T13:09:10.498" v="502" actId="1076"/>
          <ac:picMkLst>
            <pc:docMk/>
            <pc:sldMk cId="2626064658" sldId="545"/>
            <ac:picMk id="9" creationId="{D10037A8-910A-7C16-BD7C-13C85919A2A3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12:51:29.657" v="500" actId="1076"/>
        <pc:sldMkLst>
          <pc:docMk/>
          <pc:sldMk cId="2969974098" sldId="546"/>
        </pc:sldMkLst>
        <pc:spChg chg="del">
          <ac:chgData name="HADHRI Moncef" userId="895ef482-96ff-4dd4-9c74-0dc92131d96c" providerId="ADAL" clId="{E871B905-E2D9-4651-BB5B-07C41B3890F5}" dt="2023-02-01T09:38:33.528" v="239" actId="478"/>
          <ac:spMkLst>
            <pc:docMk/>
            <pc:sldMk cId="2969974098" sldId="546"/>
            <ac:spMk id="3" creationId="{0EFF6891-20EE-95E0-D095-52CB7A162280}"/>
          </ac:spMkLst>
        </pc:spChg>
        <pc:spChg chg="del">
          <ac:chgData name="HADHRI Moncef" userId="895ef482-96ff-4dd4-9c74-0dc92131d96c" providerId="ADAL" clId="{E871B905-E2D9-4651-BB5B-07C41B3890F5}" dt="2023-02-01T09:38:19.528" v="233" actId="478"/>
          <ac:spMkLst>
            <pc:docMk/>
            <pc:sldMk cId="2969974098" sldId="546"/>
            <ac:spMk id="4" creationId="{CC888E27-1F48-49C4-1304-1BABF3D1E686}"/>
          </ac:spMkLst>
        </pc:spChg>
        <pc:spChg chg="del">
          <ac:chgData name="HADHRI Moncef" userId="895ef482-96ff-4dd4-9c74-0dc92131d96c" providerId="ADAL" clId="{E871B905-E2D9-4651-BB5B-07C41B3890F5}" dt="2023-02-01T09:38:19.528" v="233" actId="478"/>
          <ac:spMkLst>
            <pc:docMk/>
            <pc:sldMk cId="2969974098" sldId="546"/>
            <ac:spMk id="5" creationId="{4D235249-9DF3-8ED5-EDE9-887915ABD1C4}"/>
          </ac:spMkLst>
        </pc:spChg>
        <pc:picChg chg="del">
          <ac:chgData name="HADHRI Moncef" userId="895ef482-96ff-4dd4-9c74-0dc92131d96c" providerId="ADAL" clId="{E871B905-E2D9-4651-BB5B-07C41B3890F5}" dt="2023-02-01T09:38:20.484" v="234" actId="478"/>
          <ac:picMkLst>
            <pc:docMk/>
            <pc:sldMk cId="2969974098" sldId="546"/>
            <ac:picMk id="2" creationId="{0837880D-D67C-9DEA-5222-9B3A01FC67A3}"/>
          </ac:picMkLst>
        </pc:picChg>
        <pc:picChg chg="del">
          <ac:chgData name="HADHRI Moncef" userId="895ef482-96ff-4dd4-9c74-0dc92131d96c" providerId="ADAL" clId="{E871B905-E2D9-4651-BB5B-07C41B3890F5}" dt="2023-02-01T09:38:19.528" v="233" actId="478"/>
          <ac:picMkLst>
            <pc:docMk/>
            <pc:sldMk cId="2969974098" sldId="546"/>
            <ac:picMk id="6" creationId="{CF5A4FB1-4E4D-5E4D-27AB-B9D2AA2B598F}"/>
          </ac:picMkLst>
        </pc:picChg>
        <pc:picChg chg="add mod">
          <ac:chgData name="HADHRI Moncef" userId="895ef482-96ff-4dd4-9c74-0dc92131d96c" providerId="ADAL" clId="{E871B905-E2D9-4651-BB5B-07C41B3890F5}" dt="2023-02-01T12:51:29.657" v="500" actId="1076"/>
          <ac:picMkLst>
            <pc:docMk/>
            <pc:sldMk cId="2969974098" sldId="546"/>
            <ac:picMk id="8" creationId="{67DDF61F-E920-288D-AE30-9EB0C7FA8702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30:43.554" v="215" actId="14100"/>
        <pc:sldMkLst>
          <pc:docMk/>
          <pc:sldMk cId="4149952134" sldId="547"/>
        </pc:sldMkLst>
        <pc:spChg chg="del">
          <ac:chgData name="HADHRI Moncef" userId="895ef482-96ff-4dd4-9c74-0dc92131d96c" providerId="ADAL" clId="{E871B905-E2D9-4651-BB5B-07C41B3890F5}" dt="2023-02-01T09:30:25.698" v="209" actId="478"/>
          <ac:spMkLst>
            <pc:docMk/>
            <pc:sldMk cId="4149952134" sldId="547"/>
            <ac:spMk id="4" creationId="{8C23433E-440A-EF08-68E1-81A56A7D8EDD}"/>
          </ac:spMkLst>
        </pc:spChg>
        <pc:spChg chg="del mod">
          <ac:chgData name="HADHRI Moncef" userId="895ef482-96ff-4dd4-9c74-0dc92131d96c" providerId="ADAL" clId="{E871B905-E2D9-4651-BB5B-07C41B3890F5}" dt="2023-02-01T09:30:26.857" v="210" actId="478"/>
          <ac:spMkLst>
            <pc:docMk/>
            <pc:sldMk cId="4149952134" sldId="547"/>
            <ac:spMk id="5" creationId="{98012C0F-4BD7-6A03-8786-08C9ED098705}"/>
          </ac:spMkLst>
        </pc:spChg>
        <pc:picChg chg="del">
          <ac:chgData name="HADHRI Moncef" userId="895ef482-96ff-4dd4-9c74-0dc92131d96c" providerId="ADAL" clId="{E871B905-E2D9-4651-BB5B-07C41B3890F5}" dt="2023-02-01T09:30:27.637" v="211" actId="478"/>
          <ac:picMkLst>
            <pc:docMk/>
            <pc:sldMk cId="4149952134" sldId="547"/>
            <ac:picMk id="3" creationId="{C68D3BB8-0CB2-06C7-F89D-C12250EB490C}"/>
          </ac:picMkLst>
        </pc:picChg>
        <pc:picChg chg="del">
          <ac:chgData name="HADHRI Moncef" userId="895ef482-96ff-4dd4-9c74-0dc92131d96c" providerId="ADAL" clId="{E871B905-E2D9-4651-BB5B-07C41B3890F5}" dt="2023-02-01T09:30:23.204" v="207" actId="478"/>
          <ac:picMkLst>
            <pc:docMk/>
            <pc:sldMk cId="4149952134" sldId="547"/>
            <ac:picMk id="7" creationId="{24219C41-DD71-AE18-A411-1AD774F0D63C}"/>
          </ac:picMkLst>
        </pc:picChg>
        <pc:picChg chg="add mod">
          <ac:chgData name="HADHRI Moncef" userId="895ef482-96ff-4dd4-9c74-0dc92131d96c" providerId="ADAL" clId="{E871B905-E2D9-4651-BB5B-07C41B3890F5}" dt="2023-02-01T09:30:43.554" v="215" actId="14100"/>
          <ac:picMkLst>
            <pc:docMk/>
            <pc:sldMk cId="4149952134" sldId="547"/>
            <ac:picMk id="8" creationId="{5E1D94B0-B990-C8E0-A132-001AF2A10511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42:20.036" v="259" actId="1076"/>
        <pc:sldMkLst>
          <pc:docMk/>
          <pc:sldMk cId="2657724479" sldId="548"/>
        </pc:sldMkLst>
        <pc:spChg chg="del">
          <ac:chgData name="HADHRI Moncef" userId="895ef482-96ff-4dd4-9c74-0dc92131d96c" providerId="ADAL" clId="{E871B905-E2D9-4651-BB5B-07C41B3890F5}" dt="2023-02-01T09:42:18.455" v="258" actId="478"/>
          <ac:spMkLst>
            <pc:docMk/>
            <pc:sldMk cId="2657724479" sldId="548"/>
            <ac:spMk id="2" creationId="{84BBD692-C53B-360A-E4A8-408577717180}"/>
          </ac:spMkLst>
        </pc:spChg>
        <pc:spChg chg="del">
          <ac:chgData name="HADHRI Moncef" userId="895ef482-96ff-4dd4-9c74-0dc92131d96c" providerId="ADAL" clId="{E871B905-E2D9-4651-BB5B-07C41B3890F5}" dt="2023-02-01T09:42:18.455" v="258" actId="478"/>
          <ac:spMkLst>
            <pc:docMk/>
            <pc:sldMk cId="2657724479" sldId="548"/>
            <ac:spMk id="3" creationId="{5FC26AE1-6454-F2CA-AD1B-87938506957B}"/>
          </ac:spMkLst>
        </pc:spChg>
        <pc:spChg chg="del">
          <ac:chgData name="HADHRI Moncef" userId="895ef482-96ff-4dd4-9c74-0dc92131d96c" providerId="ADAL" clId="{E871B905-E2D9-4651-BB5B-07C41B3890F5}" dt="2023-02-01T09:42:18.455" v="258" actId="478"/>
          <ac:spMkLst>
            <pc:docMk/>
            <pc:sldMk cId="2657724479" sldId="548"/>
            <ac:spMk id="5" creationId="{34939F9C-BA0D-9328-9DEE-4FD8C0C807B9}"/>
          </ac:spMkLst>
        </pc:spChg>
        <pc:picChg chg="del">
          <ac:chgData name="HADHRI Moncef" userId="895ef482-96ff-4dd4-9c74-0dc92131d96c" providerId="ADAL" clId="{E871B905-E2D9-4651-BB5B-07C41B3890F5}" dt="2023-02-01T09:42:06.485" v="252" actId="478"/>
          <ac:picMkLst>
            <pc:docMk/>
            <pc:sldMk cId="2657724479" sldId="548"/>
            <ac:picMk id="6" creationId="{88905811-FD9F-909E-5D87-67C3CF36F5B2}"/>
          </ac:picMkLst>
        </pc:picChg>
        <pc:picChg chg="add mod">
          <ac:chgData name="HADHRI Moncef" userId="895ef482-96ff-4dd4-9c74-0dc92131d96c" providerId="ADAL" clId="{E871B905-E2D9-4651-BB5B-07C41B3890F5}" dt="2023-02-01T09:42:20.036" v="259" actId="1076"/>
          <ac:picMkLst>
            <pc:docMk/>
            <pc:sldMk cId="2657724479" sldId="548"/>
            <ac:picMk id="7" creationId="{FC391D90-EEA9-F82E-99A6-08E6D973625B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34:58.391" v="226" actId="1076"/>
        <pc:sldMkLst>
          <pc:docMk/>
          <pc:sldMk cId="4068901997" sldId="549"/>
        </pc:sldMkLst>
        <pc:spChg chg="del">
          <ac:chgData name="HADHRI Moncef" userId="895ef482-96ff-4dd4-9c74-0dc92131d96c" providerId="ADAL" clId="{E871B905-E2D9-4651-BB5B-07C41B3890F5}" dt="2023-02-01T09:34:50.189" v="223" actId="478"/>
          <ac:spMkLst>
            <pc:docMk/>
            <pc:sldMk cId="4068901997" sldId="549"/>
            <ac:spMk id="4" creationId="{A9B0891F-A410-949A-1071-3DF77B3E49E8}"/>
          </ac:spMkLst>
        </pc:spChg>
        <pc:spChg chg="del">
          <ac:chgData name="HADHRI Moncef" userId="895ef482-96ff-4dd4-9c74-0dc92131d96c" providerId="ADAL" clId="{E871B905-E2D9-4651-BB5B-07C41B3890F5}" dt="2023-02-01T09:34:51.889" v="224" actId="478"/>
          <ac:spMkLst>
            <pc:docMk/>
            <pc:sldMk cId="4068901997" sldId="549"/>
            <ac:spMk id="5" creationId="{497A0595-7B40-7CDC-FA10-2317023022A4}"/>
          </ac:spMkLst>
        </pc:spChg>
        <pc:picChg chg="del">
          <ac:chgData name="HADHRI Moncef" userId="895ef482-96ff-4dd4-9c74-0dc92131d96c" providerId="ADAL" clId="{E871B905-E2D9-4651-BB5B-07C41B3890F5}" dt="2023-02-01T09:34:45.412" v="221" actId="478"/>
          <ac:picMkLst>
            <pc:docMk/>
            <pc:sldMk cId="4068901997" sldId="549"/>
            <ac:picMk id="2" creationId="{B8E71040-B6DD-775D-7242-0AF2C67938E7}"/>
          </ac:picMkLst>
        </pc:picChg>
        <pc:picChg chg="del">
          <ac:chgData name="HADHRI Moncef" userId="895ef482-96ff-4dd4-9c74-0dc92131d96c" providerId="ADAL" clId="{E871B905-E2D9-4651-BB5B-07C41B3890F5}" dt="2023-02-01T09:34:48.312" v="222" actId="478"/>
          <ac:picMkLst>
            <pc:docMk/>
            <pc:sldMk cId="4068901997" sldId="549"/>
            <ac:picMk id="3" creationId="{8CB9D406-5CB4-8D95-DB02-C519F8A83EAE}"/>
          </ac:picMkLst>
        </pc:picChg>
        <pc:picChg chg="add mod">
          <ac:chgData name="HADHRI Moncef" userId="895ef482-96ff-4dd4-9c74-0dc92131d96c" providerId="ADAL" clId="{E871B905-E2D9-4651-BB5B-07C41B3890F5}" dt="2023-02-01T09:34:58.391" v="226" actId="1076"/>
          <ac:picMkLst>
            <pc:docMk/>
            <pc:sldMk cId="4068901997" sldId="549"/>
            <ac:picMk id="7" creationId="{8373C473-7A39-E2D7-2D8A-B91722007043}"/>
          </ac:picMkLst>
        </pc:picChg>
      </pc:sldChg>
      <pc:sldChg chg="addSp delSp modSp mod">
        <pc:chgData name="HADHRI Moncef" userId="895ef482-96ff-4dd4-9c74-0dc92131d96c" providerId="ADAL" clId="{E871B905-E2D9-4651-BB5B-07C41B3890F5}" dt="2023-02-01T09:48:27.488" v="268" actId="14100"/>
        <pc:sldMkLst>
          <pc:docMk/>
          <pc:sldMk cId="2491726269" sldId="2134805399"/>
        </pc:sldMkLst>
        <pc:spChg chg="del">
          <ac:chgData name="HADHRI Moncef" userId="895ef482-96ff-4dd4-9c74-0dc92131d96c" providerId="ADAL" clId="{E871B905-E2D9-4651-BB5B-07C41B3890F5}" dt="2023-02-01T09:43:01.177" v="262" actId="478"/>
          <ac:spMkLst>
            <pc:docMk/>
            <pc:sldMk cId="2491726269" sldId="2134805399"/>
            <ac:spMk id="4" creationId="{4CDC53B5-E119-83BB-0E58-3846148096EC}"/>
          </ac:spMkLst>
        </pc:spChg>
        <pc:spChg chg="del">
          <ac:chgData name="HADHRI Moncef" userId="895ef482-96ff-4dd4-9c74-0dc92131d96c" providerId="ADAL" clId="{E871B905-E2D9-4651-BB5B-07C41B3890F5}" dt="2023-02-01T09:43:45.676" v="267" actId="478"/>
          <ac:spMkLst>
            <pc:docMk/>
            <pc:sldMk cId="2491726269" sldId="2134805399"/>
            <ac:spMk id="5" creationId="{2509E072-5D62-4CBE-3FC7-F7935B684318}"/>
          </ac:spMkLst>
        </pc:spChg>
        <pc:spChg chg="del">
          <ac:chgData name="HADHRI Moncef" userId="895ef482-96ff-4dd4-9c74-0dc92131d96c" providerId="ADAL" clId="{E871B905-E2D9-4651-BB5B-07C41B3890F5}" dt="2023-02-01T09:42:57.370" v="260" actId="478"/>
          <ac:spMkLst>
            <pc:docMk/>
            <pc:sldMk cId="2491726269" sldId="2134805399"/>
            <ac:spMk id="7" creationId="{AA3CB958-7DB0-2107-121A-94A8C33BCF09}"/>
          </ac:spMkLst>
        </pc:spChg>
        <pc:picChg chg="del">
          <ac:chgData name="HADHRI Moncef" userId="895ef482-96ff-4dd4-9c74-0dc92131d96c" providerId="ADAL" clId="{E871B905-E2D9-4651-BB5B-07C41B3890F5}" dt="2023-02-01T09:42:58.219" v="261" actId="478"/>
          <ac:picMkLst>
            <pc:docMk/>
            <pc:sldMk cId="2491726269" sldId="2134805399"/>
            <ac:picMk id="8" creationId="{2EAA3A2E-8575-2986-6664-0E326DC85ED4}"/>
          </ac:picMkLst>
        </pc:picChg>
        <pc:picChg chg="del">
          <ac:chgData name="HADHRI Moncef" userId="895ef482-96ff-4dd4-9c74-0dc92131d96c" providerId="ADAL" clId="{E871B905-E2D9-4651-BB5B-07C41B3890F5}" dt="2023-02-01T09:43:03.803" v="263" actId="478"/>
          <ac:picMkLst>
            <pc:docMk/>
            <pc:sldMk cId="2491726269" sldId="2134805399"/>
            <ac:picMk id="10" creationId="{9BF05237-233F-EA77-6B11-8FB61F8D0D5C}"/>
          </ac:picMkLst>
        </pc:picChg>
        <pc:picChg chg="add mod">
          <ac:chgData name="HADHRI Moncef" userId="895ef482-96ff-4dd4-9c74-0dc92131d96c" providerId="ADAL" clId="{E871B905-E2D9-4651-BB5B-07C41B3890F5}" dt="2023-02-01T09:48:27.488" v="268" actId="14100"/>
          <ac:picMkLst>
            <pc:docMk/>
            <pc:sldMk cId="2491726269" sldId="2134805399"/>
            <ac:picMk id="11" creationId="{ABF4EC86-3213-79A2-0BD5-A895C3580512}"/>
          </ac:picMkLst>
        </pc:picChg>
      </pc:sldChg>
      <pc:sldChg chg="add">
        <pc:chgData name="HADHRI Moncef" userId="895ef482-96ff-4dd4-9c74-0dc92131d96c" providerId="ADAL" clId="{E871B905-E2D9-4651-BB5B-07C41B3890F5}" dt="2023-02-03T09:59:39.805" v="505"/>
        <pc:sldMkLst>
          <pc:docMk/>
          <pc:sldMk cId="2170594155" sldId="2134805400"/>
        </pc:sldMkLst>
      </pc:sldChg>
      <pc:sldChg chg="add">
        <pc:chgData name="HADHRI Moncef" userId="895ef482-96ff-4dd4-9c74-0dc92131d96c" providerId="ADAL" clId="{E871B905-E2D9-4651-BB5B-07C41B3890F5}" dt="2023-02-03T09:59:39.805" v="505"/>
        <pc:sldMkLst>
          <pc:docMk/>
          <pc:sldMk cId="1990773259" sldId="2134805401"/>
        </pc:sldMkLst>
      </pc:sldChg>
      <pc:sldChg chg="add">
        <pc:chgData name="HADHRI Moncef" userId="895ef482-96ff-4dd4-9c74-0dc92131d96c" providerId="ADAL" clId="{E871B905-E2D9-4651-BB5B-07C41B3890F5}" dt="2023-02-03T10:00:08.530" v="509"/>
        <pc:sldMkLst>
          <pc:docMk/>
          <pc:sldMk cId="2818283143" sldId="2134805402"/>
        </pc:sldMkLst>
      </pc:sldChg>
      <pc:sldChg chg="add">
        <pc:chgData name="HADHRI Moncef" userId="895ef482-96ff-4dd4-9c74-0dc92131d96c" providerId="ADAL" clId="{E871B905-E2D9-4651-BB5B-07C41B3890F5}" dt="2023-02-03T10:00:20.649" v="511"/>
        <pc:sldMkLst>
          <pc:docMk/>
          <pc:sldMk cId="2844338126" sldId="2134805403"/>
        </pc:sldMkLst>
      </pc:sldChg>
    </pc:docChg>
  </pc:docChgLst>
  <pc:docChgLst>
    <pc:chgData name="HADHRI Moncef" userId="895ef482-96ff-4dd4-9c74-0dc92131d96c" providerId="ADAL" clId="{DC4C8E46-2EE3-4495-BB2E-C5CE97105787}"/>
    <pc:docChg chg="undo custSel addSld delSld modSld">
      <pc:chgData name="HADHRI Moncef" userId="895ef482-96ff-4dd4-9c74-0dc92131d96c" providerId="ADAL" clId="{DC4C8E46-2EE3-4495-BB2E-C5CE97105787}" dt="2023-02-23T14:18:26.364" v="4013" actId="14100"/>
      <pc:docMkLst>
        <pc:docMk/>
      </pc:docMkLst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2285206764" sldId="260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1007389210" sldId="302"/>
        </pc:sldMkLst>
      </pc:sldChg>
      <pc:sldChg chg="addSp delSp modSp mod modTransition">
        <pc:chgData name="HADHRI Moncef" userId="895ef482-96ff-4dd4-9c74-0dc92131d96c" providerId="ADAL" clId="{DC4C8E46-2EE3-4495-BB2E-C5CE97105787}" dt="2023-02-17T12:16:19.562" v="3161" actId="1076"/>
        <pc:sldMkLst>
          <pc:docMk/>
          <pc:sldMk cId="3683067118" sldId="318"/>
        </pc:sldMkLst>
        <pc:spChg chg="add del mod">
          <ac:chgData name="HADHRI Moncef" userId="895ef482-96ff-4dd4-9c74-0dc92131d96c" providerId="ADAL" clId="{DC4C8E46-2EE3-4495-BB2E-C5CE97105787}" dt="2023-02-17T10:03:03.692" v="2655" actId="478"/>
          <ac:spMkLst>
            <pc:docMk/>
            <pc:sldMk cId="3683067118" sldId="318"/>
            <ac:spMk id="2" creationId="{46D4856B-10DB-42B8-3FBD-0834C60E19A4}"/>
          </ac:spMkLst>
        </pc:spChg>
        <pc:spChg chg="add del mod">
          <ac:chgData name="HADHRI Moncef" userId="895ef482-96ff-4dd4-9c74-0dc92131d96c" providerId="ADAL" clId="{DC4C8E46-2EE3-4495-BB2E-C5CE97105787}" dt="2023-02-17T10:03:09.550" v="2659" actId="478"/>
          <ac:spMkLst>
            <pc:docMk/>
            <pc:sldMk cId="3683067118" sldId="318"/>
            <ac:spMk id="3" creationId="{F671350F-848E-197F-798C-243D35B318AA}"/>
          </ac:spMkLst>
        </pc:spChg>
        <pc:spChg chg="add del">
          <ac:chgData name="HADHRI Moncef" userId="895ef482-96ff-4dd4-9c74-0dc92131d96c" providerId="ADAL" clId="{DC4C8E46-2EE3-4495-BB2E-C5CE97105787}" dt="2023-02-03T13:02:25.234" v="2157" actId="478"/>
          <ac:spMkLst>
            <pc:docMk/>
            <pc:sldMk cId="3683067118" sldId="318"/>
            <ac:spMk id="4" creationId="{8EE0ECB5-3576-9BA4-20C3-290FBD048341}"/>
          </ac:spMkLst>
        </pc:spChg>
        <pc:spChg chg="mod">
          <ac:chgData name="HADHRI Moncef" userId="895ef482-96ff-4dd4-9c74-0dc92131d96c" providerId="ADAL" clId="{DC4C8E46-2EE3-4495-BB2E-C5CE97105787}" dt="2023-02-17T12:16:19.562" v="3161" actId="1076"/>
          <ac:spMkLst>
            <pc:docMk/>
            <pc:sldMk cId="3683067118" sldId="318"/>
            <ac:spMk id="7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0:03:08.537" v="2658" actId="478"/>
          <ac:spMkLst>
            <pc:docMk/>
            <pc:sldMk cId="3683067118" sldId="318"/>
            <ac:spMk id="8" creationId="{DA394017-7176-7AF6-C1F9-7ABCD906AF95}"/>
          </ac:spMkLst>
        </pc:spChg>
        <pc:spChg chg="add del mod">
          <ac:chgData name="HADHRI Moncef" userId="895ef482-96ff-4dd4-9c74-0dc92131d96c" providerId="ADAL" clId="{DC4C8E46-2EE3-4495-BB2E-C5CE97105787}" dt="2023-02-17T10:03:06.088" v="2657" actId="478"/>
          <ac:spMkLst>
            <pc:docMk/>
            <pc:sldMk cId="3683067118" sldId="318"/>
            <ac:spMk id="9" creationId="{5553DF13-4B6F-A1E4-3EB1-8EC6D8762576}"/>
          </ac:spMkLst>
        </pc:spChg>
        <pc:picChg chg="del mod">
          <ac:chgData name="HADHRI Moncef" userId="895ef482-96ff-4dd4-9c74-0dc92131d96c" providerId="ADAL" clId="{DC4C8E46-2EE3-4495-BB2E-C5CE97105787}" dt="2023-02-17T10:03:00.337" v="2653" actId="478"/>
          <ac:picMkLst>
            <pc:docMk/>
            <pc:sldMk cId="3683067118" sldId="318"/>
            <ac:picMk id="6" creationId="{89EED9BD-5592-5C96-3B1E-C000BF6EA7BD}"/>
          </ac:picMkLst>
        </pc:picChg>
        <pc:picChg chg="add mod">
          <ac:chgData name="HADHRI Moncef" userId="895ef482-96ff-4dd4-9c74-0dc92131d96c" providerId="ADAL" clId="{DC4C8E46-2EE3-4495-BB2E-C5CE97105787}" dt="2023-02-17T10:03:40.406" v="2667" actId="1076"/>
          <ac:picMkLst>
            <pc:docMk/>
            <pc:sldMk cId="3683067118" sldId="318"/>
            <ac:picMk id="11" creationId="{CFAE1FEC-377B-4D19-1707-42042D476077}"/>
          </ac:picMkLst>
        </pc:picChg>
        <pc:cxnChg chg="add del mod">
          <ac:chgData name="HADHRI Moncef" userId="895ef482-96ff-4dd4-9c74-0dc92131d96c" providerId="ADAL" clId="{DC4C8E46-2EE3-4495-BB2E-C5CE97105787}" dt="2023-02-17T10:03:12.271" v="2661" actId="478"/>
          <ac:cxnSpMkLst>
            <pc:docMk/>
            <pc:sldMk cId="3683067118" sldId="318"/>
            <ac:cxnSpMk id="5" creationId="{8A7BC02A-F77B-1D98-CD37-9AA6500DA5E1}"/>
          </ac:cxnSpMkLst>
        </pc:cxnChg>
        <pc:cxnChg chg="add del mod">
          <ac:chgData name="HADHRI Moncef" userId="895ef482-96ff-4dd4-9c74-0dc92131d96c" providerId="ADAL" clId="{DC4C8E46-2EE3-4495-BB2E-C5CE97105787}" dt="2023-02-17T10:03:10.464" v="2660" actId="478"/>
          <ac:cxnSpMkLst>
            <pc:docMk/>
            <pc:sldMk cId="3683067118" sldId="318"/>
            <ac:cxnSpMk id="10" creationId="{7495A387-24ED-EE36-DC36-9DFF14E8D5AC}"/>
          </ac:cxnSpMkLst>
        </pc:cxnChg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3534331703" sldId="322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559897548" sldId="332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2810469070" sldId="343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3879549548" sldId="355"/>
        </pc:sldMkLst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3100137643" sldId="369"/>
        </pc:sldMkLst>
      </pc:sldChg>
      <pc:sldChg chg="modSp mod modTransition">
        <pc:chgData name="HADHRI Moncef" userId="895ef482-96ff-4dd4-9c74-0dc92131d96c" providerId="ADAL" clId="{DC4C8E46-2EE3-4495-BB2E-C5CE97105787}" dt="2023-02-23T08:29:44.741" v="3950" actId="20577"/>
        <pc:sldMkLst>
          <pc:docMk/>
          <pc:sldMk cId="435617243" sldId="371"/>
        </pc:sldMkLst>
        <pc:spChg chg="mod">
          <ac:chgData name="HADHRI Moncef" userId="895ef482-96ff-4dd4-9c74-0dc92131d96c" providerId="ADAL" clId="{DC4C8E46-2EE3-4495-BB2E-C5CE97105787}" dt="2023-02-23T08:29:44.741" v="3950" actId="20577"/>
          <ac:spMkLst>
            <pc:docMk/>
            <pc:sldMk cId="435617243" sldId="371"/>
            <ac:spMk id="7" creationId="{66FB7B9E-1E0F-534F-9A68-2F855FF12DFE}"/>
          </ac:spMkLst>
        </pc:spChg>
      </pc:sldChg>
      <pc:sldChg chg="modTransition">
        <pc:chgData name="HADHRI Moncef" userId="895ef482-96ff-4dd4-9c74-0dc92131d96c" providerId="ADAL" clId="{DC4C8E46-2EE3-4495-BB2E-C5CE97105787}" dt="2023-02-17T12:12:19.966" v="3093"/>
        <pc:sldMkLst>
          <pc:docMk/>
          <pc:sldMk cId="1920272730" sldId="372"/>
        </pc:sldMkLst>
      </pc:sldChg>
      <pc:sldChg chg="addSp delSp modSp mod modTransition">
        <pc:chgData name="HADHRI Moncef" userId="895ef482-96ff-4dd4-9c74-0dc92131d96c" providerId="ADAL" clId="{DC4C8E46-2EE3-4495-BB2E-C5CE97105787}" dt="2023-02-23T08:30:28.142" v="3955" actId="14100"/>
        <pc:sldMkLst>
          <pc:docMk/>
          <pc:sldMk cId="687316141" sldId="375"/>
        </pc:sldMkLst>
        <pc:spChg chg="mod">
          <ac:chgData name="HADHRI Moncef" userId="895ef482-96ff-4dd4-9c74-0dc92131d96c" providerId="ADAL" clId="{DC4C8E46-2EE3-4495-BB2E-C5CE97105787}" dt="2023-02-22T16:18:30.748" v="3946" actId="13926"/>
          <ac:spMkLst>
            <pc:docMk/>
            <pc:sldMk cId="687316141" sldId="375"/>
            <ac:spMk id="7" creationId="{00000000-0000-0000-0000-000000000000}"/>
          </ac:spMkLst>
        </pc:spChg>
        <pc:picChg chg="mod">
          <ac:chgData name="HADHRI Moncef" userId="895ef482-96ff-4dd4-9c74-0dc92131d96c" providerId="ADAL" clId="{DC4C8E46-2EE3-4495-BB2E-C5CE97105787}" dt="2023-02-23T08:30:28.142" v="3955" actId="14100"/>
          <ac:picMkLst>
            <pc:docMk/>
            <pc:sldMk cId="687316141" sldId="375"/>
            <ac:picMk id="2" creationId="{2973AD24-FADA-0925-CED1-44E4C7E11282}"/>
          </ac:picMkLst>
        </pc:picChg>
        <pc:picChg chg="add del mod">
          <ac:chgData name="HADHRI Moncef" userId="895ef482-96ff-4dd4-9c74-0dc92131d96c" providerId="ADAL" clId="{DC4C8E46-2EE3-4495-BB2E-C5CE97105787}" dt="2023-02-23T08:30:16.315" v="3951" actId="478"/>
          <ac:picMkLst>
            <pc:docMk/>
            <pc:sldMk cId="687316141" sldId="375"/>
            <ac:picMk id="3" creationId="{B2C9D3BC-7B49-C144-3F12-78DFC92A5D6F}"/>
          </ac:picMkLst>
        </pc:picChg>
        <pc:picChg chg="del mod">
          <ac:chgData name="HADHRI Moncef" userId="895ef482-96ff-4dd4-9c74-0dc92131d96c" providerId="ADAL" clId="{DC4C8E46-2EE3-4495-BB2E-C5CE97105787}" dt="2023-02-21T14:34:30.457" v="3752" actId="478"/>
          <ac:picMkLst>
            <pc:docMk/>
            <pc:sldMk cId="687316141" sldId="375"/>
            <ac:picMk id="4" creationId="{28CB37CC-D6B0-958C-DA9D-D9D72D498812}"/>
          </ac:picMkLst>
        </pc:pic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203527764" sldId="378"/>
        </pc:sldMkLst>
        <pc:spChg chg="mod">
          <ac:chgData name="HADHRI Moncef" userId="895ef482-96ff-4dd4-9c74-0dc92131d96c" providerId="ADAL" clId="{DC4C8E46-2EE3-4495-BB2E-C5CE97105787}" dt="2023-02-17T11:27:14.422" v="3058" actId="207"/>
          <ac:spMkLst>
            <pc:docMk/>
            <pc:sldMk cId="3203527764" sldId="378"/>
            <ac:spMk id="7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833533132" sldId="403"/>
        </pc:sldMkLst>
        <pc:spChg chg="mod">
          <ac:chgData name="HADHRI Moncef" userId="895ef482-96ff-4dd4-9c74-0dc92131d96c" providerId="ADAL" clId="{DC4C8E46-2EE3-4495-BB2E-C5CE97105787}" dt="2023-02-17T11:02:27.036" v="2916" actId="113"/>
          <ac:spMkLst>
            <pc:docMk/>
            <pc:sldMk cId="3833533132" sldId="403"/>
            <ac:spMk id="7" creationId="{00000000-0000-0000-0000-000000000000}"/>
          </ac:spMkLst>
        </pc:spChg>
        <pc:picChg chg="mod">
          <ac:chgData name="HADHRI Moncef" userId="895ef482-96ff-4dd4-9c74-0dc92131d96c" providerId="ADAL" clId="{DC4C8E46-2EE3-4495-BB2E-C5CE97105787}" dt="2023-02-17T10:43:00.720" v="2831" actId="1036"/>
          <ac:picMkLst>
            <pc:docMk/>
            <pc:sldMk cId="3833533132" sldId="403"/>
            <ac:picMk id="8" creationId="{B208ACA1-F2FB-9688-78C3-C919E0288063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23T14:09:55.976" v="3984" actId="1076"/>
        <pc:sldMkLst>
          <pc:docMk/>
          <pc:sldMk cId="3416576635" sldId="406"/>
        </pc:sldMkLst>
        <pc:spChg chg="mod">
          <ac:chgData name="HADHRI Moncef" userId="895ef482-96ff-4dd4-9c74-0dc92131d96c" providerId="ADAL" clId="{DC4C8E46-2EE3-4495-BB2E-C5CE97105787}" dt="2023-02-17T11:11:46.125" v="2934" actId="113"/>
          <ac:spMkLst>
            <pc:docMk/>
            <pc:sldMk cId="3416576635" sldId="406"/>
            <ac:spMk id="2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23T14:09:55.976" v="3984" actId="1076"/>
          <ac:picMkLst>
            <pc:docMk/>
            <pc:sldMk cId="3416576635" sldId="406"/>
            <ac:picMk id="4" creationId="{64DDA4C6-B688-5236-BDA5-902DF4844A1A}"/>
          </ac:picMkLst>
        </pc:picChg>
        <pc:picChg chg="del">
          <ac:chgData name="HADHRI Moncef" userId="895ef482-96ff-4dd4-9c74-0dc92131d96c" providerId="ADAL" clId="{DC4C8E46-2EE3-4495-BB2E-C5CE97105787}" dt="2023-02-23T14:09:44.298" v="3980" actId="478"/>
          <ac:picMkLst>
            <pc:docMk/>
            <pc:sldMk cId="3416576635" sldId="406"/>
            <ac:picMk id="7" creationId="{0DA6ACE0-48ED-0694-0E43-D964E97870E5}"/>
          </ac:picMkLst>
        </pc:pic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697530786" sldId="407"/>
        </pc:sldMkLst>
        <pc:spChg chg="mod">
          <ac:chgData name="HADHRI Moncef" userId="895ef482-96ff-4dd4-9c74-0dc92131d96c" providerId="ADAL" clId="{DC4C8E46-2EE3-4495-BB2E-C5CE97105787}" dt="2023-02-17T11:11:50.293" v="2935" actId="113"/>
          <ac:spMkLst>
            <pc:docMk/>
            <pc:sldMk cId="1697530786" sldId="407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55755029" sldId="408"/>
        </pc:sldMkLst>
        <pc:spChg chg="mod">
          <ac:chgData name="HADHRI Moncef" userId="895ef482-96ff-4dd4-9c74-0dc92131d96c" providerId="ADAL" clId="{DC4C8E46-2EE3-4495-BB2E-C5CE97105787}" dt="2023-02-17T11:11:53.739" v="2936" actId="113"/>
          <ac:spMkLst>
            <pc:docMk/>
            <pc:sldMk cId="3455755029" sldId="408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207978756" sldId="410"/>
        </pc:sldMkLst>
        <pc:spChg chg="mod">
          <ac:chgData name="HADHRI Moncef" userId="895ef482-96ff-4dd4-9c74-0dc92131d96c" providerId="ADAL" clId="{DC4C8E46-2EE3-4495-BB2E-C5CE97105787}" dt="2023-02-17T11:11:57.566" v="2937" actId="113"/>
          <ac:spMkLst>
            <pc:docMk/>
            <pc:sldMk cId="1207978756" sldId="410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3:23:44.758" v="3335" actId="20577"/>
        <pc:sldMkLst>
          <pc:docMk/>
          <pc:sldMk cId="398650412" sldId="411"/>
        </pc:sldMkLst>
        <pc:spChg chg="mod">
          <ac:chgData name="HADHRI Moncef" userId="895ef482-96ff-4dd4-9c74-0dc92131d96c" providerId="ADAL" clId="{DC4C8E46-2EE3-4495-BB2E-C5CE97105787}" dt="2023-02-17T13:23:44.758" v="3335" actId="20577"/>
          <ac:spMkLst>
            <pc:docMk/>
            <pc:sldMk cId="398650412" sldId="411"/>
            <ac:spMk id="2" creationId="{00000000-0000-0000-0000-000000000000}"/>
          </ac:spMkLst>
        </pc:spChg>
      </pc:sldChg>
      <pc:sldChg chg="addSp delSp modSp mod modTransition">
        <pc:chgData name="HADHRI Moncef" userId="895ef482-96ff-4dd4-9c74-0dc92131d96c" providerId="ADAL" clId="{DC4C8E46-2EE3-4495-BB2E-C5CE97105787}" dt="2023-02-22T16:06:22.635" v="3896" actId="20577"/>
        <pc:sldMkLst>
          <pc:docMk/>
          <pc:sldMk cId="1067430973" sldId="415"/>
        </pc:sldMkLst>
        <pc:spChg chg="add del mod">
          <ac:chgData name="HADHRI Moncef" userId="895ef482-96ff-4dd4-9c74-0dc92131d96c" providerId="ADAL" clId="{DC4C8E46-2EE3-4495-BB2E-C5CE97105787}" dt="2023-02-03T13:09:41.995" v="2186" actId="478"/>
          <ac:spMkLst>
            <pc:docMk/>
            <pc:sldMk cId="1067430973" sldId="415"/>
            <ac:spMk id="2" creationId="{327D713C-5B94-BF52-343E-D11F96DED060}"/>
          </ac:spMkLst>
        </pc:spChg>
        <pc:spChg chg="mod">
          <ac:chgData name="HADHRI Moncef" userId="895ef482-96ff-4dd4-9c74-0dc92131d96c" providerId="ADAL" clId="{DC4C8E46-2EE3-4495-BB2E-C5CE97105787}" dt="2023-02-22T16:06:22.635" v="3896" actId="20577"/>
          <ac:spMkLst>
            <pc:docMk/>
            <pc:sldMk cId="1067430973" sldId="415"/>
            <ac:spMk id="8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86425364" sldId="431"/>
        </pc:sldMkLst>
        <pc:spChg chg="mod">
          <ac:chgData name="HADHRI Moncef" userId="895ef482-96ff-4dd4-9c74-0dc92131d96c" providerId="ADAL" clId="{DC4C8E46-2EE3-4495-BB2E-C5CE97105787}" dt="2023-02-17T12:09:36.325" v="3082" actId="113"/>
          <ac:spMkLst>
            <pc:docMk/>
            <pc:sldMk cId="3486425364" sldId="431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3:25:48.037" v="3434" actId="14100"/>
        <pc:sldMkLst>
          <pc:docMk/>
          <pc:sldMk cId="1348273151" sldId="432"/>
        </pc:sldMkLst>
        <pc:spChg chg="mod">
          <ac:chgData name="HADHRI Moncef" userId="895ef482-96ff-4dd4-9c74-0dc92131d96c" providerId="ADAL" clId="{DC4C8E46-2EE3-4495-BB2E-C5CE97105787}" dt="2023-02-17T13:25:48.037" v="3434" actId="14100"/>
          <ac:spMkLst>
            <pc:docMk/>
            <pc:sldMk cId="1348273151" sldId="432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4003818425" sldId="452"/>
        </pc:sldMkLst>
        <pc:spChg chg="mod">
          <ac:chgData name="HADHRI Moncef" userId="895ef482-96ff-4dd4-9c74-0dc92131d96c" providerId="ADAL" clId="{DC4C8E46-2EE3-4495-BB2E-C5CE97105787}" dt="2023-02-17T11:02:14.973" v="2908" actId="113"/>
          <ac:spMkLst>
            <pc:docMk/>
            <pc:sldMk cId="4003818425" sldId="452"/>
            <ac:spMk id="7171" creationId="{00000000-0000-0000-0000-000000000000}"/>
          </ac:spMkLst>
        </pc:spChg>
      </pc:sldChg>
      <pc:sldChg chg="addSp delSp modSp mod modTransition">
        <pc:chgData name="HADHRI Moncef" userId="895ef482-96ff-4dd4-9c74-0dc92131d96c" providerId="ADAL" clId="{DC4C8E46-2EE3-4495-BB2E-C5CE97105787}" dt="2023-02-22T16:08:27.020" v="3908" actId="20577"/>
        <pc:sldMkLst>
          <pc:docMk/>
          <pc:sldMk cId="2606274184" sldId="465"/>
        </pc:sldMkLst>
        <pc:spChg chg="add del mod">
          <ac:chgData name="HADHRI Moncef" userId="895ef482-96ff-4dd4-9c74-0dc92131d96c" providerId="ADAL" clId="{DC4C8E46-2EE3-4495-BB2E-C5CE97105787}" dt="2023-02-17T10:44:00.494" v="2833" actId="478"/>
          <ac:spMkLst>
            <pc:docMk/>
            <pc:sldMk cId="2606274184" sldId="465"/>
            <ac:spMk id="2" creationId="{8903F488-832E-3D5F-D735-BD266F2DE936}"/>
          </ac:spMkLst>
        </pc:spChg>
        <pc:spChg chg="mod">
          <ac:chgData name="HADHRI Moncef" userId="895ef482-96ff-4dd4-9c74-0dc92131d96c" providerId="ADAL" clId="{DC4C8E46-2EE3-4495-BB2E-C5CE97105787}" dt="2023-02-22T16:08:27.020" v="3908" actId="20577"/>
          <ac:spMkLst>
            <pc:docMk/>
            <pc:sldMk cId="2606274184" sldId="465"/>
            <ac:spMk id="7171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17T10:44:12.144" v="2838" actId="14100"/>
          <ac:picMkLst>
            <pc:docMk/>
            <pc:sldMk cId="2606274184" sldId="465"/>
            <ac:picMk id="4" creationId="{30F73C9B-D393-672A-5254-56827EA68CA2}"/>
          </ac:picMkLst>
        </pc:picChg>
        <pc:picChg chg="del">
          <ac:chgData name="HADHRI Moncef" userId="895ef482-96ff-4dd4-9c74-0dc92131d96c" providerId="ADAL" clId="{DC4C8E46-2EE3-4495-BB2E-C5CE97105787}" dt="2023-02-17T10:43:59.319" v="2832" actId="478"/>
          <ac:picMkLst>
            <pc:docMk/>
            <pc:sldMk cId="2606274184" sldId="465"/>
            <ac:picMk id="6" creationId="{2E60417E-70C7-411F-9E33-24C2042CCFC5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4223220080" sldId="473"/>
        </pc:sldMkLst>
        <pc:spChg chg="add del mod">
          <ac:chgData name="HADHRI Moncef" userId="895ef482-96ff-4dd4-9c74-0dc92131d96c" providerId="ADAL" clId="{DC4C8E46-2EE3-4495-BB2E-C5CE97105787}" dt="2023-02-17T10:35:20.295" v="2788" actId="478"/>
          <ac:spMkLst>
            <pc:docMk/>
            <pc:sldMk cId="4223220080" sldId="473"/>
            <ac:spMk id="2" creationId="{79CE994B-B8DF-EE1C-3132-74624FFB2EF2}"/>
          </ac:spMkLst>
        </pc:spChg>
        <pc:spChg chg="mod">
          <ac:chgData name="HADHRI Moncef" userId="895ef482-96ff-4dd4-9c74-0dc92131d96c" providerId="ADAL" clId="{DC4C8E46-2EE3-4495-BB2E-C5CE97105787}" dt="2023-02-17T10:57:55.397" v="2903" actId="27636"/>
          <ac:spMkLst>
            <pc:docMk/>
            <pc:sldMk cId="4223220080" sldId="473"/>
            <ac:spMk id="7171" creationId="{00000000-0000-0000-0000-000000000000}"/>
          </ac:spMkLst>
        </pc:spChg>
        <pc:picChg chg="del">
          <ac:chgData name="HADHRI Moncef" userId="895ef482-96ff-4dd4-9c74-0dc92131d96c" providerId="ADAL" clId="{DC4C8E46-2EE3-4495-BB2E-C5CE97105787}" dt="2023-02-17T10:35:18.493" v="2787" actId="478"/>
          <ac:picMkLst>
            <pc:docMk/>
            <pc:sldMk cId="4223220080" sldId="473"/>
            <ac:picMk id="5" creationId="{23FA3E36-2757-B6FF-5245-0C1ACD73FB2E}"/>
          </ac:picMkLst>
        </pc:picChg>
        <pc:picChg chg="add mod">
          <ac:chgData name="HADHRI Moncef" userId="895ef482-96ff-4dd4-9c74-0dc92131d96c" providerId="ADAL" clId="{DC4C8E46-2EE3-4495-BB2E-C5CE97105787}" dt="2023-02-17T10:35:34.512" v="2795" actId="14100"/>
          <ac:picMkLst>
            <pc:docMk/>
            <pc:sldMk cId="4223220080" sldId="473"/>
            <ac:picMk id="6" creationId="{58D8743C-616F-B508-9474-D22BCF9DD590}"/>
          </ac:picMkLst>
        </pc:picChg>
        <pc:cxnChg chg="add del mod">
          <ac:chgData name="HADHRI Moncef" userId="895ef482-96ff-4dd4-9c74-0dc92131d96c" providerId="ADAL" clId="{DC4C8E46-2EE3-4495-BB2E-C5CE97105787}" dt="2023-02-17T10:35:21.072" v="2789" actId="478"/>
          <ac:cxnSpMkLst>
            <pc:docMk/>
            <pc:sldMk cId="4223220080" sldId="473"/>
            <ac:cxnSpMk id="3" creationId="{247ADB35-48D6-F3FC-CE18-15334AF702F6}"/>
          </ac:cxnSpMkLst>
        </pc:cxnChg>
      </pc:sldChg>
      <pc:sldChg chg="modSp mod modTransition">
        <pc:chgData name="HADHRI Moncef" userId="895ef482-96ff-4dd4-9c74-0dc92131d96c" providerId="ADAL" clId="{DC4C8E46-2EE3-4495-BB2E-C5CE97105787}" dt="2023-02-22T16:09:00.548" v="3934" actId="1035"/>
        <pc:sldMkLst>
          <pc:docMk/>
          <pc:sldMk cId="696988029" sldId="474"/>
        </pc:sldMkLst>
        <pc:spChg chg="mod">
          <ac:chgData name="HADHRI Moncef" userId="895ef482-96ff-4dd4-9c74-0dc92131d96c" providerId="ADAL" clId="{DC4C8E46-2EE3-4495-BB2E-C5CE97105787}" dt="2023-02-22T16:09:00.548" v="3934" actId="1035"/>
          <ac:spMkLst>
            <pc:docMk/>
            <pc:sldMk cId="696988029" sldId="474"/>
            <ac:spMk id="15" creationId="{00000000-0000-0000-0000-000000000000}"/>
          </ac:spMkLst>
        </pc:spChg>
      </pc:sldChg>
      <pc:sldChg chg="addSp delSp modSp mod modTransition">
        <pc:chgData name="HADHRI Moncef" userId="895ef482-96ff-4dd4-9c74-0dc92131d96c" providerId="ADAL" clId="{DC4C8E46-2EE3-4495-BB2E-C5CE97105787}" dt="2023-02-17T13:30:09.778" v="3629" actId="14100"/>
        <pc:sldMkLst>
          <pc:docMk/>
          <pc:sldMk cId="1483498060" sldId="475"/>
        </pc:sldMkLst>
        <pc:spChg chg="add del mod">
          <ac:chgData name="HADHRI Moncef" userId="895ef482-96ff-4dd4-9c74-0dc92131d96c" providerId="ADAL" clId="{DC4C8E46-2EE3-4495-BB2E-C5CE97105787}" dt="2023-02-17T10:36:21.826" v="2797" actId="478"/>
          <ac:spMkLst>
            <pc:docMk/>
            <pc:sldMk cId="1483498060" sldId="475"/>
            <ac:spMk id="2" creationId="{20B57057-61D3-5FA9-4F4E-2D883D6882E0}"/>
          </ac:spMkLst>
        </pc:spChg>
        <pc:spChg chg="mod">
          <ac:chgData name="HADHRI Moncef" userId="895ef482-96ff-4dd4-9c74-0dc92131d96c" providerId="ADAL" clId="{DC4C8E46-2EE3-4495-BB2E-C5CE97105787}" dt="2023-02-17T13:30:09.778" v="3629" actId="14100"/>
          <ac:spMkLst>
            <pc:docMk/>
            <pc:sldMk cId="1483498060" sldId="475"/>
            <ac:spMk id="9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17T10:40:06.912" v="2809" actId="1036"/>
          <ac:picMkLst>
            <pc:docMk/>
            <pc:sldMk cId="1483498060" sldId="475"/>
            <ac:picMk id="4" creationId="{794E8930-320C-BA69-30CD-5D6287C29F85}"/>
          </ac:picMkLst>
        </pc:picChg>
        <pc:picChg chg="del">
          <ac:chgData name="HADHRI Moncef" userId="895ef482-96ff-4dd4-9c74-0dc92131d96c" providerId="ADAL" clId="{DC4C8E46-2EE3-4495-BB2E-C5CE97105787}" dt="2023-02-17T10:36:20.176" v="2796" actId="478"/>
          <ac:picMkLst>
            <pc:docMk/>
            <pc:sldMk cId="1483498060" sldId="475"/>
            <ac:picMk id="6" creationId="{3C7B72E3-B5F9-49A9-A51D-02A54C396CF3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264595889" sldId="478"/>
        </pc:sldMkLst>
        <pc:spChg chg="add del mod">
          <ac:chgData name="HADHRI Moncef" userId="895ef482-96ff-4dd4-9c74-0dc92131d96c" providerId="ADAL" clId="{DC4C8E46-2EE3-4495-BB2E-C5CE97105787}" dt="2023-02-17T11:24:17.474" v="3021" actId="478"/>
          <ac:spMkLst>
            <pc:docMk/>
            <pc:sldMk cId="2264595889" sldId="478"/>
            <ac:spMk id="2" creationId="{24CD757D-2B5C-911F-B241-D2A16F18D5A1}"/>
          </ac:spMkLst>
        </pc:spChg>
        <pc:spChg chg="mod">
          <ac:chgData name="HADHRI Moncef" userId="895ef482-96ff-4dd4-9c74-0dc92131d96c" providerId="ADAL" clId="{DC4C8E46-2EE3-4495-BB2E-C5CE97105787}" dt="2023-02-17T11:24:47.783" v="3029" actId="113"/>
          <ac:spMkLst>
            <pc:docMk/>
            <pc:sldMk cId="2264595889" sldId="478"/>
            <ac:spMk id="7" creationId="{00000000-0000-0000-0000-000000000000}"/>
          </ac:spMkLst>
        </pc:spChg>
        <pc:picChg chg="add del mod">
          <ac:chgData name="HADHRI Moncef" userId="895ef482-96ff-4dd4-9c74-0dc92131d96c" providerId="ADAL" clId="{DC4C8E46-2EE3-4495-BB2E-C5CE97105787}" dt="2023-02-03T11:21:45.297" v="1315"/>
          <ac:picMkLst>
            <pc:docMk/>
            <pc:sldMk cId="2264595889" sldId="478"/>
            <ac:picMk id="3" creationId="{50C38B2B-5244-BEA2-B4FB-C585A6316ECF}"/>
          </ac:picMkLst>
        </pc:picChg>
        <pc:picChg chg="add mod">
          <ac:chgData name="HADHRI Moncef" userId="895ef482-96ff-4dd4-9c74-0dc92131d96c" providerId="ADAL" clId="{DC4C8E46-2EE3-4495-BB2E-C5CE97105787}" dt="2023-02-17T11:24:44.770" v="3028" actId="14100"/>
          <ac:picMkLst>
            <pc:docMk/>
            <pc:sldMk cId="2264595889" sldId="478"/>
            <ac:picMk id="5" creationId="{4BB4E596-632F-6EA6-E721-34E32502080B}"/>
          </ac:picMkLst>
        </pc:picChg>
        <pc:picChg chg="del">
          <ac:chgData name="HADHRI Moncef" userId="895ef482-96ff-4dd4-9c74-0dc92131d96c" providerId="ADAL" clId="{DC4C8E46-2EE3-4495-BB2E-C5CE97105787}" dt="2023-02-17T11:24:34.133" v="3022" actId="478"/>
          <ac:picMkLst>
            <pc:docMk/>
            <pc:sldMk cId="2264595889" sldId="478"/>
            <ac:picMk id="6" creationId="{FDF612BB-7365-FA7F-5C93-DA4AC8A5157E}"/>
          </ac:picMkLst>
        </pc:picChg>
        <pc:cxnChg chg="add del mod">
          <ac:chgData name="HADHRI Moncef" userId="895ef482-96ff-4dd4-9c74-0dc92131d96c" providerId="ADAL" clId="{DC4C8E46-2EE3-4495-BB2E-C5CE97105787}" dt="2023-02-17T11:24:36.353" v="3024" actId="478"/>
          <ac:cxnSpMkLst>
            <pc:docMk/>
            <pc:sldMk cId="2264595889" sldId="478"/>
            <ac:cxnSpMk id="4" creationId="{1037967B-842C-6DE6-5278-262432053B20}"/>
          </ac:cxnSpMkLst>
        </pc:cxnChg>
        <pc:cxnChg chg="add del mod">
          <ac:chgData name="HADHRI Moncef" userId="895ef482-96ff-4dd4-9c74-0dc92131d96c" providerId="ADAL" clId="{DC4C8E46-2EE3-4495-BB2E-C5CE97105787}" dt="2023-02-17T11:24:35.401" v="3023" actId="478"/>
          <ac:cxnSpMkLst>
            <pc:docMk/>
            <pc:sldMk cId="2264595889" sldId="478"/>
            <ac:cxnSpMk id="8" creationId="{2F286564-F16A-A221-D2C5-1464CD2D3CF6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17T13:25:14.733" v="3415" actId="1035"/>
        <pc:sldMkLst>
          <pc:docMk/>
          <pc:sldMk cId="1623204966" sldId="481"/>
        </pc:sldMkLst>
        <pc:spChg chg="add del mod">
          <ac:chgData name="HADHRI Moncef" userId="895ef482-96ff-4dd4-9c74-0dc92131d96c" providerId="ADAL" clId="{DC4C8E46-2EE3-4495-BB2E-C5CE97105787}" dt="2023-02-17T12:08:31.091" v="3071" actId="478"/>
          <ac:spMkLst>
            <pc:docMk/>
            <pc:sldMk cId="1623204966" sldId="481"/>
            <ac:spMk id="2" creationId="{E10E8775-9404-2DE9-0A61-8ADF659017FB}"/>
          </ac:spMkLst>
        </pc:spChg>
        <pc:spChg chg="mod">
          <ac:chgData name="HADHRI Moncef" userId="895ef482-96ff-4dd4-9c74-0dc92131d96c" providerId="ADAL" clId="{DC4C8E46-2EE3-4495-BB2E-C5CE97105787}" dt="2023-02-17T13:25:14.733" v="3415" actId="1035"/>
          <ac:spMkLst>
            <pc:docMk/>
            <pc:sldMk cId="1623204966" sldId="481"/>
            <ac:spMk id="7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17T12:09:07.267" v="3076" actId="14100"/>
          <ac:picMkLst>
            <pc:docMk/>
            <pc:sldMk cId="1623204966" sldId="481"/>
            <ac:picMk id="5" creationId="{6CF4C1AE-F6A7-5E6D-D632-3969D8C58491}"/>
          </ac:picMkLst>
        </pc:picChg>
        <pc:picChg chg="del">
          <ac:chgData name="HADHRI Moncef" userId="895ef482-96ff-4dd4-9c74-0dc92131d96c" providerId="ADAL" clId="{DC4C8E46-2EE3-4495-BB2E-C5CE97105787}" dt="2023-02-17T12:08:25.660" v="3066" actId="478"/>
          <ac:picMkLst>
            <pc:docMk/>
            <pc:sldMk cId="1623204966" sldId="481"/>
            <ac:picMk id="6" creationId="{3830CFFF-888C-262E-9E8C-5948D364AF5C}"/>
          </ac:picMkLst>
        </pc:picChg>
        <pc:cxnChg chg="add del mod">
          <ac:chgData name="HADHRI Moncef" userId="895ef482-96ff-4dd4-9c74-0dc92131d96c" providerId="ADAL" clId="{DC4C8E46-2EE3-4495-BB2E-C5CE97105787}" dt="2023-02-17T12:08:29.113" v="3069" actId="478"/>
          <ac:cxnSpMkLst>
            <pc:docMk/>
            <pc:sldMk cId="1623204966" sldId="481"/>
            <ac:cxnSpMk id="3" creationId="{4C379071-95F4-42BF-3B76-C6BD5CA6681D}"/>
          </ac:cxnSpMkLst>
        </pc:cxnChg>
        <pc:cxnChg chg="add del mod">
          <ac:chgData name="HADHRI Moncef" userId="895ef482-96ff-4dd4-9c74-0dc92131d96c" providerId="ADAL" clId="{DC4C8E46-2EE3-4495-BB2E-C5CE97105787}" dt="2023-02-17T12:08:26.930" v="3067" actId="478"/>
          <ac:cxnSpMkLst>
            <pc:docMk/>
            <pc:sldMk cId="1623204966" sldId="481"/>
            <ac:cxnSpMk id="8" creationId="{0C4F92C8-5615-66EB-D959-181208F6B68E}"/>
          </ac:cxnSpMkLst>
        </pc:cxnChg>
        <pc:cxnChg chg="add del mod">
          <ac:chgData name="HADHRI Moncef" userId="895ef482-96ff-4dd4-9c74-0dc92131d96c" providerId="ADAL" clId="{DC4C8E46-2EE3-4495-BB2E-C5CE97105787}" dt="2023-02-17T12:08:29.773" v="3070" actId="478"/>
          <ac:cxnSpMkLst>
            <pc:docMk/>
            <pc:sldMk cId="1623204966" sldId="481"/>
            <ac:cxnSpMk id="10" creationId="{B5DD0CC6-7C05-C0B3-DF17-9B1AC23539F4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050253954" sldId="483"/>
        </pc:sldMkLst>
        <pc:spChg chg="add del mod">
          <ac:chgData name="HADHRI Moncef" userId="895ef482-96ff-4dd4-9c74-0dc92131d96c" providerId="ADAL" clId="{DC4C8E46-2EE3-4495-BB2E-C5CE97105787}" dt="2023-02-17T11:16:07.983" v="2984" actId="478"/>
          <ac:spMkLst>
            <pc:docMk/>
            <pc:sldMk cId="3050253954" sldId="483"/>
            <ac:spMk id="2" creationId="{3EE4312E-FD2D-FD86-3CBC-C0C0B46253D6}"/>
          </ac:spMkLst>
        </pc:spChg>
        <pc:spChg chg="mod">
          <ac:chgData name="HADHRI Moncef" userId="895ef482-96ff-4dd4-9c74-0dc92131d96c" providerId="ADAL" clId="{DC4C8E46-2EE3-4495-BB2E-C5CE97105787}" dt="2023-02-17T11:16:26.663" v="2992" actId="113"/>
          <ac:spMkLst>
            <pc:docMk/>
            <pc:sldMk cId="3050253954" sldId="483"/>
            <ac:spMk id="7171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17T11:16:22.930" v="2991" actId="14100"/>
          <ac:picMkLst>
            <pc:docMk/>
            <pc:sldMk cId="3050253954" sldId="483"/>
            <ac:picMk id="5" creationId="{8ACC5A0A-9023-EFC0-754F-531477E8D627}"/>
          </ac:picMkLst>
        </pc:picChg>
        <pc:picChg chg="del">
          <ac:chgData name="HADHRI Moncef" userId="895ef482-96ff-4dd4-9c74-0dc92131d96c" providerId="ADAL" clId="{DC4C8E46-2EE3-4495-BB2E-C5CE97105787}" dt="2023-02-17T11:16:05.783" v="2982" actId="478"/>
          <ac:picMkLst>
            <pc:docMk/>
            <pc:sldMk cId="3050253954" sldId="483"/>
            <ac:picMk id="6" creationId="{5881A8FA-5F1F-AEA2-06BB-75F7BBCD279A}"/>
          </ac:picMkLst>
        </pc:picChg>
        <pc:cxnChg chg="add del mod">
          <ac:chgData name="HADHRI Moncef" userId="895ef482-96ff-4dd4-9c74-0dc92131d96c" providerId="ADAL" clId="{DC4C8E46-2EE3-4495-BB2E-C5CE97105787}" dt="2023-02-17T11:16:06.737" v="2983" actId="478"/>
          <ac:cxnSpMkLst>
            <pc:docMk/>
            <pc:sldMk cId="3050253954" sldId="483"/>
            <ac:cxnSpMk id="3" creationId="{F3FB5D5C-B0A2-8592-538C-28DC0710C155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23T14:14:29.279" v="3995" actId="1076"/>
        <pc:sldMkLst>
          <pc:docMk/>
          <pc:sldMk cId="3842426781" sldId="498"/>
        </pc:sldMkLst>
        <pc:spChg chg="mod">
          <ac:chgData name="HADHRI Moncef" userId="895ef482-96ff-4dd4-9c74-0dc92131d96c" providerId="ADAL" clId="{DC4C8E46-2EE3-4495-BB2E-C5CE97105787}" dt="2023-02-17T10:53:52.747" v="2864" actId="113"/>
          <ac:spMkLst>
            <pc:docMk/>
            <pc:sldMk cId="3842426781" sldId="498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0:29:09.560" v="2726" actId="478"/>
          <ac:spMkLst>
            <pc:docMk/>
            <pc:sldMk cId="3842426781" sldId="498"/>
            <ac:spMk id="3" creationId="{6AA32DE9-458E-66AA-5E18-C99B7D1C3181}"/>
          </ac:spMkLst>
        </pc:spChg>
        <pc:spChg chg="add del mod">
          <ac:chgData name="HADHRI Moncef" userId="895ef482-96ff-4dd4-9c74-0dc92131d96c" providerId="ADAL" clId="{DC4C8E46-2EE3-4495-BB2E-C5CE97105787}" dt="2023-02-17T10:29:10.684" v="2727" actId="478"/>
          <ac:spMkLst>
            <pc:docMk/>
            <pc:sldMk cId="3842426781" sldId="498"/>
            <ac:spMk id="6" creationId="{E93216B2-62F8-9B9A-0C52-AD35247C8209}"/>
          </ac:spMkLst>
        </pc:spChg>
        <pc:picChg chg="add mod">
          <ac:chgData name="HADHRI Moncef" userId="895ef482-96ff-4dd4-9c74-0dc92131d96c" providerId="ADAL" clId="{DC4C8E46-2EE3-4495-BB2E-C5CE97105787}" dt="2023-02-23T14:14:29.279" v="3995" actId="1076"/>
          <ac:picMkLst>
            <pc:docMk/>
            <pc:sldMk cId="3842426781" sldId="498"/>
            <ac:picMk id="4" creationId="{7873F25C-C1BA-5A56-DCBA-5F12F244ED0E}"/>
          </ac:picMkLst>
        </pc:picChg>
        <pc:picChg chg="del mod">
          <ac:chgData name="HADHRI Moncef" userId="895ef482-96ff-4dd4-9c74-0dc92131d96c" providerId="ADAL" clId="{DC4C8E46-2EE3-4495-BB2E-C5CE97105787}" dt="2023-02-17T10:29:07.065" v="2724" actId="478"/>
          <ac:picMkLst>
            <pc:docMk/>
            <pc:sldMk cId="3842426781" sldId="498"/>
            <ac:picMk id="7" creationId="{435BC351-9BA9-1EFA-6F99-4EB33755956F}"/>
          </ac:picMkLst>
        </pc:picChg>
        <pc:picChg chg="add del mod">
          <ac:chgData name="HADHRI Moncef" userId="895ef482-96ff-4dd4-9c74-0dc92131d96c" providerId="ADAL" clId="{DC4C8E46-2EE3-4495-BB2E-C5CE97105787}" dt="2023-02-23T14:14:20.172" v="3991" actId="478"/>
          <ac:picMkLst>
            <pc:docMk/>
            <pc:sldMk cId="3842426781" sldId="498"/>
            <ac:picMk id="8" creationId="{8F78215E-F456-BF7A-BBB9-FEB46D336238}"/>
          </ac:picMkLst>
        </pc:picChg>
        <pc:cxnChg chg="add del mod">
          <ac:chgData name="HADHRI Moncef" userId="895ef482-96ff-4dd4-9c74-0dc92131d96c" providerId="ADAL" clId="{DC4C8E46-2EE3-4495-BB2E-C5CE97105787}" dt="2023-02-17T10:29:08.324" v="2725" actId="478"/>
          <ac:cxnSpMkLst>
            <pc:docMk/>
            <pc:sldMk cId="3842426781" sldId="498"/>
            <ac:cxnSpMk id="5" creationId="{6D9ED9AE-A07F-381B-7853-7EF6C41BEA55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132958973" sldId="502"/>
        </pc:sldMkLst>
        <pc:spChg chg="mod">
          <ac:chgData name="HADHRI Moncef" userId="895ef482-96ff-4dd4-9c74-0dc92131d96c" providerId="ADAL" clId="{DC4C8E46-2EE3-4495-BB2E-C5CE97105787}" dt="2023-02-17T11:14:35.814" v="2965" actId="113"/>
          <ac:spMkLst>
            <pc:docMk/>
            <pc:sldMk cId="3132958973" sldId="502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14:23.593" v="2959" actId="478"/>
          <ac:spMkLst>
            <pc:docMk/>
            <pc:sldMk cId="3132958973" sldId="502"/>
            <ac:spMk id="3" creationId="{699E722E-A81B-64E7-0670-74E246E0C690}"/>
          </ac:spMkLst>
        </pc:spChg>
        <pc:picChg chg="add mod">
          <ac:chgData name="HADHRI Moncef" userId="895ef482-96ff-4dd4-9c74-0dc92131d96c" providerId="ADAL" clId="{DC4C8E46-2EE3-4495-BB2E-C5CE97105787}" dt="2023-02-17T11:14:33.371" v="2964" actId="1076"/>
          <ac:picMkLst>
            <pc:docMk/>
            <pc:sldMk cId="3132958973" sldId="502"/>
            <ac:picMk id="7" creationId="{8A2BA2B7-E575-2BFE-C4D3-8739A76D6E6F}"/>
          </ac:picMkLst>
        </pc:picChg>
        <pc:picChg chg="del mod">
          <ac:chgData name="HADHRI Moncef" userId="895ef482-96ff-4dd4-9c74-0dc92131d96c" providerId="ADAL" clId="{DC4C8E46-2EE3-4495-BB2E-C5CE97105787}" dt="2023-02-17T11:14:19.129" v="2955" actId="478"/>
          <ac:picMkLst>
            <pc:docMk/>
            <pc:sldMk cId="3132958973" sldId="502"/>
            <ac:picMk id="11" creationId="{4980282B-0C2F-73C4-8647-C01136D96742}"/>
          </ac:picMkLst>
        </pc:picChg>
        <pc:cxnChg chg="add del mod">
          <ac:chgData name="HADHRI Moncef" userId="895ef482-96ff-4dd4-9c74-0dc92131d96c" providerId="ADAL" clId="{DC4C8E46-2EE3-4495-BB2E-C5CE97105787}" dt="2023-02-17T11:14:21.466" v="2957" actId="478"/>
          <ac:cxnSpMkLst>
            <pc:docMk/>
            <pc:sldMk cId="3132958973" sldId="502"/>
            <ac:cxnSpMk id="4" creationId="{9BA701BF-A38C-863E-5896-BAD43DA3F8D7}"/>
          </ac:cxnSpMkLst>
        </pc:cxnChg>
        <pc:cxnChg chg="add del mod">
          <ac:chgData name="HADHRI Moncef" userId="895ef482-96ff-4dd4-9c74-0dc92131d96c" providerId="ADAL" clId="{DC4C8E46-2EE3-4495-BB2E-C5CE97105787}" dt="2023-02-17T11:14:20.554" v="2956" actId="478"/>
          <ac:cxnSpMkLst>
            <pc:docMk/>
            <pc:sldMk cId="3132958973" sldId="502"/>
            <ac:cxnSpMk id="6" creationId="{14198185-8F80-2C6E-196D-28B26787EFF9}"/>
          </ac:cxnSpMkLst>
        </pc:cxnChg>
        <pc:cxnChg chg="add del mod">
          <ac:chgData name="HADHRI Moncef" userId="895ef482-96ff-4dd4-9c74-0dc92131d96c" providerId="ADAL" clId="{DC4C8E46-2EE3-4495-BB2E-C5CE97105787}" dt="2023-02-17T11:14:22.265" v="2958" actId="478"/>
          <ac:cxnSpMkLst>
            <pc:docMk/>
            <pc:sldMk cId="3132958973" sldId="502"/>
            <ac:cxnSpMk id="9" creationId="{7A7CE09C-DAD0-5A37-DA73-84A4E5D151CC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23T14:08:07.446" v="3979" actId="1076"/>
        <pc:sldMkLst>
          <pc:docMk/>
          <pc:sldMk cId="4181001190" sldId="506"/>
        </pc:sldMkLst>
        <pc:spChg chg="add del mod">
          <ac:chgData name="HADHRI Moncef" userId="895ef482-96ff-4dd4-9c74-0dc92131d96c" providerId="ADAL" clId="{DC4C8E46-2EE3-4495-BB2E-C5CE97105787}" dt="2023-02-17T09:57:54.766" v="2635" actId="478"/>
          <ac:spMkLst>
            <pc:docMk/>
            <pc:sldMk cId="4181001190" sldId="506"/>
            <ac:spMk id="2" creationId="{2280ADCC-D3CC-F724-FC06-02C9632D8D9A}"/>
          </ac:spMkLst>
        </pc:spChg>
        <pc:spChg chg="mod">
          <ac:chgData name="HADHRI Moncef" userId="895ef482-96ff-4dd4-9c74-0dc92131d96c" providerId="ADAL" clId="{DC4C8E46-2EE3-4495-BB2E-C5CE97105787}" dt="2023-02-17T10:52:18.019" v="2857" actId="113"/>
          <ac:spMkLst>
            <pc:docMk/>
            <pc:sldMk cId="4181001190" sldId="506"/>
            <ac:spMk id="7" creationId="{00000000-0000-0000-0000-000000000000}"/>
          </ac:spMkLst>
        </pc:spChg>
        <pc:picChg chg="add del mod">
          <ac:chgData name="HADHRI Moncef" userId="895ef482-96ff-4dd4-9c74-0dc92131d96c" providerId="ADAL" clId="{DC4C8E46-2EE3-4495-BB2E-C5CE97105787}" dt="2023-02-23T14:05:03.609" v="3965" actId="478"/>
          <ac:picMkLst>
            <pc:docMk/>
            <pc:sldMk cId="4181001190" sldId="506"/>
            <ac:picMk id="3" creationId="{B7F1241B-18A9-504B-4810-67E520427B68}"/>
          </ac:picMkLst>
        </pc:picChg>
        <pc:picChg chg="add mod">
          <ac:chgData name="HADHRI Moncef" userId="895ef482-96ff-4dd4-9c74-0dc92131d96c" providerId="ADAL" clId="{DC4C8E46-2EE3-4495-BB2E-C5CE97105787}" dt="2023-02-23T14:08:07.446" v="3979" actId="1076"/>
          <ac:picMkLst>
            <pc:docMk/>
            <pc:sldMk cId="4181001190" sldId="506"/>
            <ac:picMk id="3" creationId="{D0696CA7-528E-A8CB-5AE3-28762F1FEE71}"/>
          </ac:picMkLst>
        </pc:picChg>
        <pc:picChg chg="add del mod">
          <ac:chgData name="HADHRI Moncef" userId="895ef482-96ff-4dd4-9c74-0dc92131d96c" providerId="ADAL" clId="{DC4C8E46-2EE3-4495-BB2E-C5CE97105787}" dt="2023-02-23T14:04:37.867" v="3960" actId="478"/>
          <ac:picMkLst>
            <pc:docMk/>
            <pc:sldMk cId="4181001190" sldId="506"/>
            <ac:picMk id="5" creationId="{77D962C5-9A27-49D5-82E4-9477E4EB022F}"/>
          </ac:picMkLst>
        </pc:picChg>
        <pc:picChg chg="del">
          <ac:chgData name="HADHRI Moncef" userId="895ef482-96ff-4dd4-9c74-0dc92131d96c" providerId="ADAL" clId="{DC4C8E46-2EE3-4495-BB2E-C5CE97105787}" dt="2023-02-17T09:57:52.965" v="2634" actId="478"/>
          <ac:picMkLst>
            <pc:docMk/>
            <pc:sldMk cId="4181001190" sldId="506"/>
            <ac:picMk id="6" creationId="{2837958C-C45A-A583-DC26-B9D87A647FBA}"/>
          </ac:picMkLst>
        </pc:picChg>
        <pc:picChg chg="add del mod">
          <ac:chgData name="HADHRI Moncef" userId="895ef482-96ff-4dd4-9c74-0dc92131d96c" providerId="ADAL" clId="{DC4C8E46-2EE3-4495-BB2E-C5CE97105787}" dt="2023-02-23T14:05:14.079" v="3968" actId="478"/>
          <ac:picMkLst>
            <pc:docMk/>
            <pc:sldMk cId="4181001190" sldId="506"/>
            <ac:picMk id="6" creationId="{507DBC92-C72F-5694-B61B-B5483BAA0AEB}"/>
          </ac:picMkLst>
        </pc:picChg>
        <pc:picChg chg="del mod">
          <ac:chgData name="HADHRI Moncef" userId="895ef482-96ff-4dd4-9c74-0dc92131d96c" providerId="ADAL" clId="{DC4C8E46-2EE3-4495-BB2E-C5CE97105787}" dt="2023-02-23T14:07:52.405" v="3973" actId="478"/>
          <ac:picMkLst>
            <pc:docMk/>
            <pc:sldMk cId="4181001190" sldId="506"/>
            <ac:picMk id="8" creationId="{DB0309E4-6FAE-F688-A1BF-7DD0E4C4C73D}"/>
          </ac:picMkLst>
        </pc:picChg>
        <pc:cxnChg chg="add del mod">
          <ac:chgData name="HADHRI Moncef" userId="895ef482-96ff-4dd4-9c74-0dc92131d96c" providerId="ADAL" clId="{DC4C8E46-2EE3-4495-BB2E-C5CE97105787}" dt="2023-02-17T09:57:55.464" v="2636" actId="478"/>
          <ac:cxnSpMkLst>
            <pc:docMk/>
            <pc:sldMk cId="4181001190" sldId="506"/>
            <ac:cxnSpMk id="3" creationId="{A7F09467-5A8C-1636-5429-B4DF41E3DF90}"/>
          </ac:cxnSpMkLst>
        </pc:cxnChg>
      </pc:sldChg>
      <pc:sldChg chg="modSp mod modTransition">
        <pc:chgData name="HADHRI Moncef" userId="895ef482-96ff-4dd4-9c74-0dc92131d96c" providerId="ADAL" clId="{DC4C8E46-2EE3-4495-BB2E-C5CE97105787}" dt="2023-02-17T13:26:38.561" v="3495" actId="20577"/>
        <pc:sldMkLst>
          <pc:docMk/>
          <pc:sldMk cId="3951615262" sldId="508"/>
        </pc:sldMkLst>
        <pc:spChg chg="mod">
          <ac:chgData name="HADHRI Moncef" userId="895ef482-96ff-4dd4-9c74-0dc92131d96c" providerId="ADAL" clId="{DC4C8E46-2EE3-4495-BB2E-C5CE97105787}" dt="2023-02-17T13:26:38.561" v="3495" actId="20577"/>
          <ac:spMkLst>
            <pc:docMk/>
            <pc:sldMk cId="3951615262" sldId="508"/>
            <ac:spMk id="2" creationId="{00000000-0000-0000-0000-000000000000}"/>
          </ac:spMkLst>
        </pc:spChg>
      </pc:sldChg>
      <pc:sldChg chg="addSp delSp modSp del mod">
        <pc:chgData name="HADHRI Moncef" userId="895ef482-96ff-4dd4-9c74-0dc92131d96c" providerId="ADAL" clId="{DC4C8E46-2EE3-4495-BB2E-C5CE97105787}" dt="2023-02-03T15:52:41.593" v="2575" actId="47"/>
        <pc:sldMkLst>
          <pc:docMk/>
          <pc:sldMk cId="405463073" sldId="510"/>
        </pc:sldMkLst>
        <pc:spChg chg="add mod">
          <ac:chgData name="HADHRI Moncef" userId="895ef482-96ff-4dd4-9c74-0dc92131d96c" providerId="ADAL" clId="{DC4C8E46-2EE3-4495-BB2E-C5CE97105787}" dt="2023-02-03T11:40:48.162" v="1993" actId="1076"/>
          <ac:spMkLst>
            <pc:docMk/>
            <pc:sldMk cId="405463073" sldId="510"/>
            <ac:spMk id="4" creationId="{B5944BA6-9C6B-9523-BA56-2FCD0E2936AD}"/>
          </ac:spMkLst>
        </pc:spChg>
        <pc:spChg chg="add mod">
          <ac:chgData name="HADHRI Moncef" userId="895ef482-96ff-4dd4-9c74-0dc92131d96c" providerId="ADAL" clId="{DC4C8E46-2EE3-4495-BB2E-C5CE97105787}" dt="2023-02-03T11:48:44.679" v="2125" actId="14100"/>
          <ac:spMkLst>
            <pc:docMk/>
            <pc:sldMk cId="405463073" sldId="510"/>
            <ac:spMk id="5" creationId="{AE82D457-E0C4-6704-6C6A-DE63770F2C1D}"/>
          </ac:spMkLst>
        </pc:spChg>
        <pc:picChg chg="mod">
          <ac:chgData name="HADHRI Moncef" userId="895ef482-96ff-4dd4-9c74-0dc92131d96c" providerId="ADAL" clId="{DC4C8E46-2EE3-4495-BB2E-C5CE97105787}" dt="2023-02-03T11:40:32.016" v="1989" actId="1076"/>
          <ac:picMkLst>
            <pc:docMk/>
            <pc:sldMk cId="405463073" sldId="510"/>
            <ac:picMk id="3" creationId="{CC551BA5-346E-4033-9360-1A751E735C94}"/>
          </ac:picMkLst>
        </pc:picChg>
        <pc:cxnChg chg="add del mod">
          <ac:chgData name="HADHRI Moncef" userId="895ef482-96ff-4dd4-9c74-0dc92131d96c" providerId="ADAL" clId="{DC4C8E46-2EE3-4495-BB2E-C5CE97105787}" dt="2023-02-03T11:39:40.180" v="1891" actId="478"/>
          <ac:cxnSpMkLst>
            <pc:docMk/>
            <pc:sldMk cId="405463073" sldId="510"/>
            <ac:cxnSpMk id="2" creationId="{22DD94A5-C393-6128-D325-BFD0304E14E3}"/>
          </ac:cxnSpMkLst>
        </pc:cxnChg>
      </pc:sldChg>
      <pc:sldChg chg="modSp mod modTransition">
        <pc:chgData name="HADHRI Moncef" userId="895ef482-96ff-4dd4-9c74-0dc92131d96c" providerId="ADAL" clId="{DC4C8E46-2EE3-4495-BB2E-C5CE97105787}" dt="2023-02-22T16:05:10.771" v="3871" actId="20577"/>
        <pc:sldMkLst>
          <pc:docMk/>
          <pc:sldMk cId="1376106718" sldId="511"/>
        </pc:sldMkLst>
        <pc:spChg chg="mod">
          <ac:chgData name="HADHRI Moncef" userId="895ef482-96ff-4dd4-9c74-0dc92131d96c" providerId="ADAL" clId="{DC4C8E46-2EE3-4495-BB2E-C5CE97105787}" dt="2023-02-22T16:05:10.771" v="3871" actId="20577"/>
          <ac:spMkLst>
            <pc:docMk/>
            <pc:sldMk cId="1376106718" sldId="511"/>
            <ac:spMk id="7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3:27:46.704" v="3538" actId="20577"/>
        <pc:sldMkLst>
          <pc:docMk/>
          <pc:sldMk cId="1361385511" sldId="514"/>
        </pc:sldMkLst>
        <pc:spChg chg="mod">
          <ac:chgData name="HADHRI Moncef" userId="895ef482-96ff-4dd4-9c74-0dc92131d96c" providerId="ADAL" clId="{DC4C8E46-2EE3-4495-BB2E-C5CE97105787}" dt="2023-02-17T13:27:46.704" v="3538" actId="20577"/>
          <ac:spMkLst>
            <pc:docMk/>
            <pc:sldMk cId="1361385511" sldId="514"/>
            <ac:spMk id="2" creationId="{00000000-0000-0000-0000-000000000000}"/>
          </ac:spMkLst>
        </pc:spChg>
        <pc:picChg chg="mod">
          <ac:chgData name="HADHRI Moncef" userId="895ef482-96ff-4dd4-9c74-0dc92131d96c" providerId="ADAL" clId="{DC4C8E46-2EE3-4495-BB2E-C5CE97105787}" dt="2023-02-17T13:27:33.139" v="3527" actId="1076"/>
          <ac:picMkLst>
            <pc:docMk/>
            <pc:sldMk cId="1361385511" sldId="514"/>
            <ac:picMk id="9" creationId="{B7A90C33-C8B3-6683-66B6-1FDD4E636310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22T16:12:49.539" v="3944" actId="1076"/>
        <pc:sldMkLst>
          <pc:docMk/>
          <pc:sldMk cId="4037864099" sldId="516"/>
        </pc:sldMkLst>
        <pc:spChg chg="mod">
          <ac:chgData name="HADHRI Moncef" userId="895ef482-96ff-4dd4-9c74-0dc92131d96c" providerId="ADAL" clId="{DC4C8E46-2EE3-4495-BB2E-C5CE97105787}" dt="2023-02-17T13:23:54.757" v="3356" actId="20577"/>
          <ac:spMkLst>
            <pc:docMk/>
            <pc:sldMk cId="4037864099" sldId="516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12:28.493" v="2942" actId="478"/>
          <ac:spMkLst>
            <pc:docMk/>
            <pc:sldMk cId="4037864099" sldId="516"/>
            <ac:spMk id="3" creationId="{D7F9F836-FA6A-762A-3F74-8FF07F67F30E}"/>
          </ac:spMkLst>
        </pc:spChg>
        <pc:picChg chg="add mod">
          <ac:chgData name="HADHRI Moncef" userId="895ef482-96ff-4dd4-9c74-0dc92131d96c" providerId="ADAL" clId="{DC4C8E46-2EE3-4495-BB2E-C5CE97105787}" dt="2023-02-22T16:12:49.539" v="3944" actId="1076"/>
          <ac:picMkLst>
            <pc:docMk/>
            <pc:sldMk cId="4037864099" sldId="516"/>
            <ac:picMk id="4" creationId="{39F4F3F4-948D-ADC6-4BEA-5AA647CA5DE8}"/>
          </ac:picMkLst>
        </pc:picChg>
        <pc:picChg chg="del">
          <ac:chgData name="HADHRI Moncef" userId="895ef482-96ff-4dd4-9c74-0dc92131d96c" providerId="ADAL" clId="{DC4C8E46-2EE3-4495-BB2E-C5CE97105787}" dt="2023-02-17T11:12:26.426" v="2940" actId="478"/>
          <ac:picMkLst>
            <pc:docMk/>
            <pc:sldMk cId="4037864099" sldId="516"/>
            <ac:picMk id="7" creationId="{489C3CBF-2278-821D-FD02-3A6ADA16F109}"/>
          </ac:picMkLst>
        </pc:picChg>
        <pc:picChg chg="add del mod">
          <ac:chgData name="HADHRI Moncef" userId="895ef482-96ff-4dd4-9c74-0dc92131d96c" providerId="ADAL" clId="{DC4C8E46-2EE3-4495-BB2E-C5CE97105787}" dt="2023-02-17T11:12:51.881" v="2948" actId="478"/>
          <ac:picMkLst>
            <pc:docMk/>
            <pc:sldMk cId="4037864099" sldId="516"/>
            <ac:picMk id="8" creationId="{6246CFDD-ED62-4B2F-5D67-A2D24B2B5017}"/>
          </ac:picMkLst>
        </pc:picChg>
        <pc:picChg chg="add del mod">
          <ac:chgData name="HADHRI Moncef" userId="895ef482-96ff-4dd4-9c74-0dc92131d96c" providerId="ADAL" clId="{DC4C8E46-2EE3-4495-BB2E-C5CE97105787}" dt="2023-02-22T16:12:23.256" v="3940" actId="478"/>
          <ac:picMkLst>
            <pc:docMk/>
            <pc:sldMk cId="4037864099" sldId="516"/>
            <ac:picMk id="10" creationId="{0A930968-B233-2E97-2E71-CF5113F83035}"/>
          </ac:picMkLst>
        </pc:picChg>
        <pc:cxnChg chg="add del mod">
          <ac:chgData name="HADHRI Moncef" userId="895ef482-96ff-4dd4-9c74-0dc92131d96c" providerId="ADAL" clId="{DC4C8E46-2EE3-4495-BB2E-C5CE97105787}" dt="2023-02-17T11:12:27.344" v="2941" actId="478"/>
          <ac:cxnSpMkLst>
            <pc:docMk/>
            <pc:sldMk cId="4037864099" sldId="516"/>
            <ac:cxnSpMk id="5" creationId="{07145696-4EE3-7164-50CD-6E1FEEA89C8E}"/>
          </ac:cxnSpMkLst>
        </pc:cxnChg>
        <pc:cxnChg chg="add del mod">
          <ac:chgData name="HADHRI Moncef" userId="895ef482-96ff-4dd4-9c74-0dc92131d96c" providerId="ADAL" clId="{DC4C8E46-2EE3-4495-BB2E-C5CE97105787}" dt="2023-02-17T11:12:29.323" v="2943" actId="478"/>
          <ac:cxnSpMkLst>
            <pc:docMk/>
            <pc:sldMk cId="4037864099" sldId="516"/>
            <ac:cxnSpMk id="6" creationId="{D2FC2728-709A-A028-CEC8-25F9A87265AF}"/>
          </ac:cxnSpMkLst>
        </pc:cxnChg>
      </pc:sldChg>
      <pc:sldChg chg="modSp mod modTransition">
        <pc:chgData name="HADHRI Moncef" userId="895ef482-96ff-4dd4-9c74-0dc92131d96c" providerId="ADAL" clId="{DC4C8E46-2EE3-4495-BB2E-C5CE97105787}" dt="2023-02-17T13:24:15.044" v="3363" actId="1035"/>
        <pc:sldMkLst>
          <pc:docMk/>
          <pc:sldMk cId="1410458262" sldId="517"/>
        </pc:sldMkLst>
        <pc:spChg chg="mod">
          <ac:chgData name="HADHRI Moncef" userId="895ef482-96ff-4dd4-9c74-0dc92131d96c" providerId="ADAL" clId="{DC4C8E46-2EE3-4495-BB2E-C5CE97105787}" dt="2023-02-17T13:24:15.044" v="3363" actId="1035"/>
          <ac:spMkLst>
            <pc:docMk/>
            <pc:sldMk cId="1410458262" sldId="517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337721770" sldId="519"/>
        </pc:sldMkLst>
        <pc:spChg chg="mod">
          <ac:chgData name="HADHRI Moncef" userId="895ef482-96ff-4dd4-9c74-0dc92131d96c" providerId="ADAL" clId="{DC4C8E46-2EE3-4495-BB2E-C5CE97105787}" dt="2023-02-17T12:09:23.373" v="3079" actId="113"/>
          <ac:spMkLst>
            <pc:docMk/>
            <pc:sldMk cId="2337721770" sldId="519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995611519" sldId="520"/>
        </pc:sldMkLst>
        <pc:spChg chg="mod">
          <ac:chgData name="HADHRI Moncef" userId="895ef482-96ff-4dd4-9c74-0dc92131d96c" providerId="ADAL" clId="{DC4C8E46-2EE3-4495-BB2E-C5CE97105787}" dt="2023-02-17T12:09:27.759" v="3080" actId="113"/>
          <ac:spMkLst>
            <pc:docMk/>
            <pc:sldMk cId="3995611519" sldId="520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441936261" sldId="523"/>
        </pc:sldMkLst>
        <pc:spChg chg="mod">
          <ac:chgData name="HADHRI Moncef" userId="895ef482-96ff-4dd4-9c74-0dc92131d96c" providerId="ADAL" clId="{DC4C8E46-2EE3-4495-BB2E-C5CE97105787}" dt="2023-02-17T10:46:00.811" v="2854" actId="1076"/>
          <ac:spMkLst>
            <pc:docMk/>
            <pc:sldMk cId="1441936261" sldId="523"/>
            <ac:spMk id="7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652464793" sldId="524"/>
        </pc:sldMkLst>
        <pc:spChg chg="mod">
          <ac:chgData name="HADHRI Moncef" userId="895ef482-96ff-4dd4-9c74-0dc92131d96c" providerId="ADAL" clId="{DC4C8E46-2EE3-4495-BB2E-C5CE97105787}" dt="2023-02-17T10:51:48.074" v="2856" actId="1076"/>
          <ac:spMkLst>
            <pc:docMk/>
            <pc:sldMk cId="3652464793" sldId="524"/>
            <ac:spMk id="7" creationId="{00000000-0000-0000-0000-000000000000}"/>
          </ac:spMkLst>
        </pc:sp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797321108" sldId="525"/>
        </pc:sldMkLst>
        <pc:spChg chg="add del mod">
          <ac:chgData name="HADHRI Moncef" userId="895ef482-96ff-4dd4-9c74-0dc92131d96c" providerId="ADAL" clId="{DC4C8E46-2EE3-4495-BB2E-C5CE97105787}" dt="2023-02-17T09:58:40.596" v="2644" actId="478"/>
          <ac:spMkLst>
            <pc:docMk/>
            <pc:sldMk cId="1797321108" sldId="525"/>
            <ac:spMk id="2" creationId="{2B1794AC-2802-6E03-18AE-5696621937C5}"/>
          </ac:spMkLst>
        </pc:spChg>
        <pc:spChg chg="mod">
          <ac:chgData name="HADHRI Moncef" userId="895ef482-96ff-4dd4-9c74-0dc92131d96c" providerId="ADAL" clId="{DC4C8E46-2EE3-4495-BB2E-C5CE97105787}" dt="2023-02-17T10:53:10.707" v="2858" actId="113"/>
          <ac:spMkLst>
            <pc:docMk/>
            <pc:sldMk cId="1797321108" sldId="525"/>
            <ac:spMk id="7" creationId="{00000000-0000-0000-0000-000000000000}"/>
          </ac:spMkLst>
        </pc:spChg>
        <pc:picChg chg="add del">
          <ac:chgData name="HADHRI Moncef" userId="895ef482-96ff-4dd4-9c74-0dc92131d96c" providerId="ADAL" clId="{DC4C8E46-2EE3-4495-BB2E-C5CE97105787}" dt="2023-02-17T09:59:03.389" v="2648" actId="478"/>
          <ac:picMkLst>
            <pc:docMk/>
            <pc:sldMk cId="1797321108" sldId="525"/>
            <ac:picMk id="5" creationId="{17213241-65A1-4B5F-61ED-A935AA8E044D}"/>
          </ac:picMkLst>
        </pc:picChg>
        <pc:picChg chg="del mod">
          <ac:chgData name="HADHRI Moncef" userId="895ef482-96ff-4dd4-9c74-0dc92131d96c" providerId="ADAL" clId="{DC4C8E46-2EE3-4495-BB2E-C5CE97105787}" dt="2023-02-17T09:58:37.780" v="2643" actId="478"/>
          <ac:picMkLst>
            <pc:docMk/>
            <pc:sldMk cId="1797321108" sldId="525"/>
            <ac:picMk id="6" creationId="{CDD7BC31-6339-FFE3-63F2-B5092AC70AE0}"/>
          </ac:picMkLst>
        </pc:picChg>
        <pc:picChg chg="add mod">
          <ac:chgData name="HADHRI Moncef" userId="895ef482-96ff-4dd4-9c74-0dc92131d96c" providerId="ADAL" clId="{DC4C8E46-2EE3-4495-BB2E-C5CE97105787}" dt="2023-02-17T09:59:18.188" v="2652" actId="14100"/>
          <ac:picMkLst>
            <pc:docMk/>
            <pc:sldMk cId="1797321108" sldId="525"/>
            <ac:picMk id="10" creationId="{2DEB2506-7775-00AA-344C-CB238CC81F8F}"/>
          </ac:picMkLst>
        </pc:picChg>
        <pc:cxnChg chg="add del mod">
          <ac:chgData name="HADHRI Moncef" userId="895ef482-96ff-4dd4-9c74-0dc92131d96c" providerId="ADAL" clId="{DC4C8E46-2EE3-4495-BB2E-C5CE97105787}" dt="2023-02-17T09:58:41.660" v="2645" actId="478"/>
          <ac:cxnSpMkLst>
            <pc:docMk/>
            <pc:sldMk cId="1797321108" sldId="525"/>
            <ac:cxnSpMk id="4" creationId="{E3D25209-81EC-9E5F-DE51-07A577F26C09}"/>
          </ac:cxnSpMkLst>
        </pc:cxnChg>
        <pc:cxnChg chg="add del mod">
          <ac:chgData name="HADHRI Moncef" userId="895ef482-96ff-4dd4-9c74-0dc92131d96c" providerId="ADAL" clId="{DC4C8E46-2EE3-4495-BB2E-C5CE97105787}" dt="2023-02-17T09:58:42.586" v="2646" actId="478"/>
          <ac:cxnSpMkLst>
            <pc:docMk/>
            <pc:sldMk cId="1797321108" sldId="525"/>
            <ac:cxnSpMk id="9" creationId="{FECADA26-2E00-2D71-6056-D495ACAA3811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23T14:12:27.043" v="3990" actId="1076"/>
        <pc:sldMkLst>
          <pc:docMk/>
          <pc:sldMk cId="3840129972" sldId="526"/>
        </pc:sldMkLst>
        <pc:spChg chg="add del mod">
          <ac:chgData name="HADHRI Moncef" userId="895ef482-96ff-4dd4-9c74-0dc92131d96c" providerId="ADAL" clId="{DC4C8E46-2EE3-4495-BB2E-C5CE97105787}" dt="2023-02-17T10:14:56.362" v="2674" actId="478"/>
          <ac:spMkLst>
            <pc:docMk/>
            <pc:sldMk cId="3840129972" sldId="526"/>
            <ac:spMk id="2" creationId="{FB7460A3-EB26-0019-B038-FB1385052607}"/>
          </ac:spMkLst>
        </pc:spChg>
        <pc:spChg chg="mod">
          <ac:chgData name="HADHRI Moncef" userId="895ef482-96ff-4dd4-9c74-0dc92131d96c" providerId="ADAL" clId="{DC4C8E46-2EE3-4495-BB2E-C5CE97105787}" dt="2023-02-17T10:53:30.207" v="2860" actId="113"/>
          <ac:spMkLst>
            <pc:docMk/>
            <pc:sldMk cId="3840129972" sldId="526"/>
            <ac:spMk id="7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23T14:12:27.043" v="3990" actId="1076"/>
          <ac:picMkLst>
            <pc:docMk/>
            <pc:sldMk cId="3840129972" sldId="526"/>
            <ac:picMk id="3" creationId="{818B45A0-EEB7-9B70-FA7B-577139C2ABED}"/>
          </ac:picMkLst>
        </pc:picChg>
        <pc:picChg chg="add del mod">
          <ac:chgData name="HADHRI Moncef" userId="895ef482-96ff-4dd4-9c74-0dc92131d96c" providerId="ADAL" clId="{DC4C8E46-2EE3-4495-BB2E-C5CE97105787}" dt="2023-02-23T14:12:15.795" v="3985" actId="478"/>
          <ac:picMkLst>
            <pc:docMk/>
            <pc:sldMk cId="3840129972" sldId="526"/>
            <ac:picMk id="4" creationId="{32A77B65-D706-62A9-ED88-67A09D97C938}"/>
          </ac:picMkLst>
        </pc:picChg>
        <pc:picChg chg="del">
          <ac:chgData name="HADHRI Moncef" userId="895ef482-96ff-4dd4-9c74-0dc92131d96c" providerId="ADAL" clId="{DC4C8E46-2EE3-4495-BB2E-C5CE97105787}" dt="2023-02-17T10:14:51.947" v="2672" actId="478"/>
          <ac:picMkLst>
            <pc:docMk/>
            <pc:sldMk cId="3840129972" sldId="526"/>
            <ac:picMk id="6" creationId="{CC94D53A-61A5-0AE1-8F3C-0A36377EE304}"/>
          </ac:picMkLst>
        </pc:pic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611791896" sldId="527"/>
        </pc:sldMkLst>
        <pc:spChg chg="mod">
          <ac:chgData name="HADHRI Moncef" userId="895ef482-96ff-4dd4-9c74-0dc92131d96c" providerId="ADAL" clId="{DC4C8E46-2EE3-4495-BB2E-C5CE97105787}" dt="2023-02-17T10:53:34.213" v="2861" actId="113"/>
          <ac:spMkLst>
            <pc:docMk/>
            <pc:sldMk cId="611791896" sldId="527"/>
            <ac:spMk id="7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22T15:55:20.920" v="3782" actId="20577"/>
        <pc:sldMkLst>
          <pc:docMk/>
          <pc:sldMk cId="4050344241" sldId="528"/>
        </pc:sldMkLst>
        <pc:spChg chg="mod">
          <ac:chgData name="HADHRI Moncef" userId="895ef482-96ff-4dd4-9c74-0dc92131d96c" providerId="ADAL" clId="{DC4C8E46-2EE3-4495-BB2E-C5CE97105787}" dt="2023-02-22T15:55:20.920" v="3782" actId="20577"/>
          <ac:spMkLst>
            <pc:docMk/>
            <pc:sldMk cId="4050344241" sldId="528"/>
            <ac:spMk id="7" creationId="{00000000-0000-0000-0000-000000000000}"/>
          </ac:spMkLst>
        </pc:spChg>
      </pc:sldChg>
      <pc:sldChg chg="addSp delSp modSp mod modTransition">
        <pc:chgData name="HADHRI Moncef" userId="895ef482-96ff-4dd4-9c74-0dc92131d96c" providerId="ADAL" clId="{DC4C8E46-2EE3-4495-BB2E-C5CE97105787}" dt="2023-02-23T14:15:22.676" v="4002" actId="1076"/>
        <pc:sldMkLst>
          <pc:docMk/>
          <pc:sldMk cId="3970380033" sldId="529"/>
        </pc:sldMkLst>
        <pc:spChg chg="add del mod">
          <ac:chgData name="HADHRI Moncef" userId="895ef482-96ff-4dd4-9c74-0dc92131d96c" providerId="ADAL" clId="{DC4C8E46-2EE3-4495-BB2E-C5CE97105787}" dt="2023-02-17T10:31:10.144" v="2739" actId="478"/>
          <ac:spMkLst>
            <pc:docMk/>
            <pc:sldMk cId="3970380033" sldId="529"/>
            <ac:spMk id="2" creationId="{343391B5-A72D-E7B7-F7E9-2E69B0B22555}"/>
          </ac:spMkLst>
        </pc:spChg>
        <pc:spChg chg="add del mod">
          <ac:chgData name="HADHRI Moncef" userId="895ef482-96ff-4dd4-9c74-0dc92131d96c" providerId="ADAL" clId="{DC4C8E46-2EE3-4495-BB2E-C5CE97105787}" dt="2023-02-17T10:31:05.665" v="2736" actId="478"/>
          <ac:spMkLst>
            <pc:docMk/>
            <pc:sldMk cId="3970380033" sldId="529"/>
            <ac:spMk id="3" creationId="{4776A394-3DA7-A3AF-1277-D9ABF451DF46}"/>
          </ac:spMkLst>
        </pc:spChg>
        <pc:spChg chg="mod">
          <ac:chgData name="HADHRI Moncef" userId="895ef482-96ff-4dd4-9c74-0dc92131d96c" providerId="ADAL" clId="{DC4C8E46-2EE3-4495-BB2E-C5CE97105787}" dt="2023-02-17T13:39:07.084" v="3747" actId="1076"/>
          <ac:spMkLst>
            <pc:docMk/>
            <pc:sldMk cId="3970380033" sldId="529"/>
            <ac:spMk id="7" creationId="{00000000-0000-0000-0000-000000000000}"/>
          </ac:spMkLst>
        </pc:spChg>
        <pc:picChg chg="add del">
          <ac:chgData name="HADHRI Moncef" userId="895ef482-96ff-4dd4-9c74-0dc92131d96c" providerId="ADAL" clId="{DC4C8E46-2EE3-4495-BB2E-C5CE97105787}" dt="2023-02-23T14:15:15.490" v="3998" actId="478"/>
          <ac:picMkLst>
            <pc:docMk/>
            <pc:sldMk cId="3970380033" sldId="529"/>
            <ac:picMk id="3" creationId="{C20C8848-8B0B-170F-1B10-82764592E1E2}"/>
          </ac:picMkLst>
        </pc:picChg>
        <pc:picChg chg="del mod">
          <ac:chgData name="HADHRI Moncef" userId="895ef482-96ff-4dd4-9c74-0dc92131d96c" providerId="ADAL" clId="{DC4C8E46-2EE3-4495-BB2E-C5CE97105787}" dt="2023-02-17T10:31:02.976" v="2734" actId="478"/>
          <ac:picMkLst>
            <pc:docMk/>
            <pc:sldMk cId="3970380033" sldId="529"/>
            <ac:picMk id="5" creationId="{30489D27-DCA7-8D4E-E8C0-C3201FBC2C39}"/>
          </ac:picMkLst>
        </pc:picChg>
        <pc:picChg chg="add mod">
          <ac:chgData name="HADHRI Moncef" userId="895ef482-96ff-4dd4-9c74-0dc92131d96c" providerId="ADAL" clId="{DC4C8E46-2EE3-4495-BB2E-C5CE97105787}" dt="2023-02-23T14:15:22.676" v="4002" actId="1076"/>
          <ac:picMkLst>
            <pc:docMk/>
            <pc:sldMk cId="3970380033" sldId="529"/>
            <ac:picMk id="5" creationId="{B55E2364-E305-DF56-1BE6-C681868141E5}"/>
          </ac:picMkLst>
        </pc:picChg>
        <pc:picChg chg="add del mod">
          <ac:chgData name="HADHRI Moncef" userId="895ef482-96ff-4dd4-9c74-0dc92131d96c" providerId="ADAL" clId="{DC4C8E46-2EE3-4495-BB2E-C5CE97105787}" dt="2023-02-23T14:14:55.792" v="3996" actId="478"/>
          <ac:picMkLst>
            <pc:docMk/>
            <pc:sldMk cId="3970380033" sldId="529"/>
            <ac:picMk id="9" creationId="{14A3935A-AA04-5E9C-4CA3-78D36CDE06F8}"/>
          </ac:picMkLst>
        </pc:picChg>
        <pc:cxnChg chg="add del mod">
          <ac:chgData name="HADHRI Moncef" userId="895ef482-96ff-4dd4-9c74-0dc92131d96c" providerId="ADAL" clId="{DC4C8E46-2EE3-4495-BB2E-C5CE97105787}" dt="2023-02-17T10:31:09.225" v="2738" actId="478"/>
          <ac:cxnSpMkLst>
            <pc:docMk/>
            <pc:sldMk cId="3970380033" sldId="529"/>
            <ac:cxnSpMk id="6" creationId="{9F2F59B2-83AE-53F0-DDFA-C1A2CEFC8CB3}"/>
          </ac:cxnSpMkLst>
        </pc:cxnChg>
        <pc:cxnChg chg="add del mod">
          <ac:chgData name="HADHRI Moncef" userId="895ef482-96ff-4dd4-9c74-0dc92131d96c" providerId="ADAL" clId="{DC4C8E46-2EE3-4495-BB2E-C5CE97105787}" dt="2023-02-17T10:31:04.312" v="2735" actId="478"/>
          <ac:cxnSpMkLst>
            <pc:docMk/>
            <pc:sldMk cId="3970380033" sldId="529"/>
            <ac:cxnSpMk id="8" creationId="{56564A99-9CF0-076D-6074-FD92AFB46FBF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22T16:01:42.165" v="3802" actId="14100"/>
        <pc:sldMkLst>
          <pc:docMk/>
          <pc:sldMk cId="2267228707" sldId="530"/>
        </pc:sldMkLst>
        <pc:spChg chg="add del mod">
          <ac:chgData name="HADHRI Moncef" userId="895ef482-96ff-4dd4-9c74-0dc92131d96c" providerId="ADAL" clId="{DC4C8E46-2EE3-4495-BB2E-C5CE97105787}" dt="2023-02-17T10:32:16.289" v="2769" actId="478"/>
          <ac:spMkLst>
            <pc:docMk/>
            <pc:sldMk cId="2267228707" sldId="530"/>
            <ac:spMk id="2" creationId="{A23D94DF-C2D4-6C53-5081-C527269003DD}"/>
          </ac:spMkLst>
        </pc:spChg>
        <pc:spChg chg="mod">
          <ac:chgData name="HADHRI Moncef" userId="895ef482-96ff-4dd4-9c74-0dc92131d96c" providerId="ADAL" clId="{DC4C8E46-2EE3-4495-BB2E-C5CE97105787}" dt="2023-02-17T10:54:30.048" v="2893" actId="113"/>
          <ac:spMkLst>
            <pc:docMk/>
            <pc:sldMk cId="2267228707" sldId="530"/>
            <ac:spMk id="7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22T16:01:42.165" v="3802" actId="14100"/>
          <ac:picMkLst>
            <pc:docMk/>
            <pc:sldMk cId="2267228707" sldId="530"/>
            <ac:picMk id="3" creationId="{DEF4F647-CCAC-D67C-5290-BDDDB9120B8F}"/>
          </ac:picMkLst>
        </pc:picChg>
        <pc:picChg chg="del">
          <ac:chgData name="HADHRI Moncef" userId="895ef482-96ff-4dd4-9c74-0dc92131d96c" providerId="ADAL" clId="{DC4C8E46-2EE3-4495-BB2E-C5CE97105787}" dt="2023-02-17T10:32:13.743" v="2767" actId="478"/>
          <ac:picMkLst>
            <pc:docMk/>
            <pc:sldMk cId="2267228707" sldId="530"/>
            <ac:picMk id="5" creationId="{32A00C07-8BE0-4D6C-8E57-CF47886BB09E}"/>
          </ac:picMkLst>
        </pc:picChg>
        <pc:picChg chg="add del mod">
          <ac:chgData name="HADHRI Moncef" userId="895ef482-96ff-4dd4-9c74-0dc92131d96c" providerId="ADAL" clId="{DC4C8E46-2EE3-4495-BB2E-C5CE97105787}" dt="2023-02-22T16:01:25.579" v="3795" actId="478"/>
          <ac:picMkLst>
            <pc:docMk/>
            <pc:sldMk cId="2267228707" sldId="530"/>
            <ac:picMk id="6" creationId="{C6570C1C-2D67-FEE7-7C83-8CED73DD7F19}"/>
          </ac:picMkLst>
        </pc:picChg>
        <pc:cxnChg chg="add del mod">
          <ac:chgData name="HADHRI Moncef" userId="895ef482-96ff-4dd4-9c74-0dc92131d96c" providerId="ADAL" clId="{DC4C8E46-2EE3-4495-BB2E-C5CE97105787}" dt="2023-02-17T10:32:14.690" v="2768" actId="478"/>
          <ac:cxnSpMkLst>
            <pc:docMk/>
            <pc:sldMk cId="2267228707" sldId="530"/>
            <ac:cxnSpMk id="3" creationId="{35550317-9F9D-E21A-FBF2-72144B8F6F0C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23T14:18:26.364" v="4013" actId="14100"/>
        <pc:sldMkLst>
          <pc:docMk/>
          <pc:sldMk cId="399590516" sldId="531"/>
        </pc:sldMkLst>
        <pc:spChg chg="add del mod">
          <ac:chgData name="HADHRI Moncef" userId="895ef482-96ff-4dd4-9c74-0dc92131d96c" providerId="ADAL" clId="{DC4C8E46-2EE3-4495-BB2E-C5CE97105787}" dt="2023-02-17T11:27:07.586" v="3056" actId="478"/>
          <ac:spMkLst>
            <pc:docMk/>
            <pc:sldMk cId="399590516" sldId="531"/>
            <ac:spMk id="2" creationId="{1C374C9B-1A6B-4159-BE50-4E10128B63BE}"/>
          </ac:spMkLst>
        </pc:spChg>
        <pc:spChg chg="add del mod">
          <ac:chgData name="HADHRI Moncef" userId="895ef482-96ff-4dd4-9c74-0dc92131d96c" providerId="ADAL" clId="{DC4C8E46-2EE3-4495-BB2E-C5CE97105787}" dt="2023-02-17T11:27:08.522" v="3057" actId="478"/>
          <ac:spMkLst>
            <pc:docMk/>
            <pc:sldMk cId="399590516" sldId="531"/>
            <ac:spMk id="3" creationId="{FBD01A54-4103-56E2-9C05-B055784C9C84}"/>
          </ac:spMkLst>
        </pc:spChg>
        <pc:spChg chg="mod">
          <ac:chgData name="HADHRI Moncef" userId="895ef482-96ff-4dd4-9c74-0dc92131d96c" providerId="ADAL" clId="{DC4C8E46-2EE3-4495-BB2E-C5CE97105787}" dt="2023-02-21T14:40:54.374" v="3766" actId="1076"/>
          <ac:spMkLst>
            <pc:docMk/>
            <pc:sldMk cId="399590516" sldId="531"/>
            <ac:spMk id="7" creationId="{00000000-0000-0000-0000-000000000000}"/>
          </ac:spMkLst>
        </pc:spChg>
        <pc:picChg chg="add del mod">
          <ac:chgData name="HADHRI Moncef" userId="895ef482-96ff-4dd4-9c74-0dc92131d96c" providerId="ADAL" clId="{DC4C8E46-2EE3-4495-BB2E-C5CE97105787}" dt="2023-02-21T14:40:11.061" v="3761" actId="478"/>
          <ac:picMkLst>
            <pc:docMk/>
            <pc:sldMk cId="399590516" sldId="531"/>
            <ac:picMk id="3" creationId="{057ECCF9-CBFA-8E78-D223-DA199EDC95F2}"/>
          </ac:picMkLst>
        </pc:picChg>
        <pc:picChg chg="add del mod">
          <ac:chgData name="HADHRI Moncef" userId="895ef482-96ff-4dd4-9c74-0dc92131d96c" providerId="ADAL" clId="{DC4C8E46-2EE3-4495-BB2E-C5CE97105787}" dt="2023-02-23T14:18:09.803" v="4007" actId="478"/>
          <ac:picMkLst>
            <pc:docMk/>
            <pc:sldMk cId="399590516" sldId="531"/>
            <ac:picMk id="3" creationId="{9E4F9DBF-038A-4DC4-B442-A1D287E43B6E}"/>
          </ac:picMkLst>
        </pc:picChg>
        <pc:picChg chg="mod">
          <ac:chgData name="HADHRI Moncef" userId="895ef482-96ff-4dd4-9c74-0dc92131d96c" providerId="ADAL" clId="{DC4C8E46-2EE3-4495-BB2E-C5CE97105787}" dt="2023-02-23T14:18:26.364" v="4013" actId="14100"/>
          <ac:picMkLst>
            <pc:docMk/>
            <pc:sldMk cId="399590516" sldId="531"/>
            <ac:picMk id="4" creationId="{990DBE29-941A-D760-FC5F-4BFF2339CEA2}"/>
          </ac:picMkLst>
        </pc:picChg>
        <pc:picChg chg="add del mod">
          <ac:chgData name="HADHRI Moncef" userId="895ef482-96ff-4dd4-9c74-0dc92131d96c" providerId="ADAL" clId="{DC4C8E46-2EE3-4495-BB2E-C5CE97105787}" dt="2023-02-21T14:40:03.622" v="3758" actId="478"/>
          <ac:picMkLst>
            <pc:docMk/>
            <pc:sldMk cId="399590516" sldId="531"/>
            <ac:picMk id="5" creationId="{4C8AA582-AF3B-E0E8-6B61-61088C69B0B5}"/>
          </ac:picMkLst>
        </pc:picChg>
        <pc:picChg chg="del mod">
          <ac:chgData name="HADHRI Moncef" userId="895ef482-96ff-4dd4-9c74-0dc92131d96c" providerId="ADAL" clId="{DC4C8E46-2EE3-4495-BB2E-C5CE97105787}" dt="2023-02-17T11:27:04.196" v="3055" actId="478"/>
          <ac:picMkLst>
            <pc:docMk/>
            <pc:sldMk cId="399590516" sldId="531"/>
            <ac:picMk id="6" creationId="{7B4DB00A-62B8-1942-1529-E585C677E403}"/>
          </ac:picMkLst>
        </pc:picChg>
        <pc:picChg chg="add del mod">
          <ac:chgData name="HADHRI Moncef" userId="895ef482-96ff-4dd4-9c74-0dc92131d96c" providerId="ADAL" clId="{DC4C8E46-2EE3-4495-BB2E-C5CE97105787}" dt="2023-02-23T14:18:02.644" v="4003" actId="478"/>
          <ac:picMkLst>
            <pc:docMk/>
            <pc:sldMk cId="399590516" sldId="531"/>
            <ac:picMk id="6" creationId="{EBA7FD82-A97D-B80F-D1B0-2FCFC646D9D5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113706935" sldId="532"/>
        </pc:sldMkLst>
        <pc:spChg chg="add del mod">
          <ac:chgData name="HADHRI Moncef" userId="895ef482-96ff-4dd4-9c74-0dc92131d96c" providerId="ADAL" clId="{DC4C8E46-2EE3-4495-BB2E-C5CE97105787}" dt="2023-02-17T10:32:46.449" v="2778" actId="478"/>
          <ac:spMkLst>
            <pc:docMk/>
            <pc:sldMk cId="1113706935" sldId="532"/>
            <ac:spMk id="2" creationId="{E63E486A-48C3-8633-34A7-6F7A78D9999F}"/>
          </ac:spMkLst>
        </pc:spChg>
        <pc:spChg chg="add del mod">
          <ac:chgData name="HADHRI Moncef" userId="895ef482-96ff-4dd4-9c74-0dc92131d96c" providerId="ADAL" clId="{DC4C8E46-2EE3-4495-BB2E-C5CE97105787}" dt="2023-02-17T10:32:45.280" v="2777" actId="478"/>
          <ac:spMkLst>
            <pc:docMk/>
            <pc:sldMk cId="1113706935" sldId="532"/>
            <ac:spMk id="3" creationId="{D652A105-D926-7589-D309-E50FBAB5C6E8}"/>
          </ac:spMkLst>
        </pc:spChg>
        <pc:spChg chg="mod">
          <ac:chgData name="HADHRI Moncef" userId="895ef482-96ff-4dd4-9c74-0dc92131d96c" providerId="ADAL" clId="{DC4C8E46-2EE3-4495-BB2E-C5CE97105787}" dt="2023-02-17T10:55:15.709" v="2897" actId="113"/>
          <ac:spMkLst>
            <pc:docMk/>
            <pc:sldMk cId="1113706935" sldId="532"/>
            <ac:spMk id="7" creationId="{00000000-0000-0000-0000-000000000000}"/>
          </ac:spMkLst>
        </pc:spChg>
        <pc:picChg chg="add mod">
          <ac:chgData name="HADHRI Moncef" userId="895ef482-96ff-4dd4-9c74-0dc92131d96c" providerId="ADAL" clId="{DC4C8E46-2EE3-4495-BB2E-C5CE97105787}" dt="2023-02-17T10:55:13.322" v="2896" actId="1076"/>
          <ac:picMkLst>
            <pc:docMk/>
            <pc:sldMk cId="1113706935" sldId="532"/>
            <ac:picMk id="5" creationId="{A16715C2-6950-4C38-6196-F088BAF9486E}"/>
          </ac:picMkLst>
        </pc:picChg>
        <pc:picChg chg="del mod">
          <ac:chgData name="HADHRI Moncef" userId="895ef482-96ff-4dd4-9c74-0dc92131d96c" providerId="ADAL" clId="{DC4C8E46-2EE3-4495-BB2E-C5CE97105787}" dt="2023-02-17T10:32:47.410" v="2779" actId="478"/>
          <ac:picMkLst>
            <pc:docMk/>
            <pc:sldMk cId="1113706935" sldId="532"/>
            <ac:picMk id="10" creationId="{7C3D2CE0-42BA-BC84-B99F-A81DCCE35420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17T13:28:38.277" v="3563" actId="1035"/>
        <pc:sldMkLst>
          <pc:docMk/>
          <pc:sldMk cId="160286315" sldId="533"/>
        </pc:sldMkLst>
        <pc:spChg chg="mod">
          <ac:chgData name="HADHRI Moncef" userId="895ef482-96ff-4dd4-9c74-0dc92131d96c" providerId="ADAL" clId="{DC4C8E46-2EE3-4495-BB2E-C5CE97105787}" dt="2023-02-17T13:28:38.277" v="3563" actId="1035"/>
          <ac:spMkLst>
            <pc:docMk/>
            <pc:sldMk cId="160286315" sldId="533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09:07.151" v="2923" actId="478"/>
          <ac:spMkLst>
            <pc:docMk/>
            <pc:sldMk cId="160286315" sldId="533"/>
            <ac:spMk id="3" creationId="{D1C5CD4E-DCE0-08C2-A947-878027289FD4}"/>
          </ac:spMkLst>
        </pc:spChg>
        <pc:spChg chg="add del mod">
          <ac:chgData name="HADHRI Moncef" userId="895ef482-96ff-4dd4-9c74-0dc92131d96c" providerId="ADAL" clId="{DC4C8E46-2EE3-4495-BB2E-C5CE97105787}" dt="2023-02-17T11:09:05.869" v="2922" actId="478"/>
          <ac:spMkLst>
            <pc:docMk/>
            <pc:sldMk cId="160286315" sldId="533"/>
            <ac:spMk id="4" creationId="{D194AE30-D392-E368-F41F-A7CBDB5BDD33}"/>
          </ac:spMkLst>
        </pc:spChg>
        <pc:picChg chg="del">
          <ac:chgData name="HADHRI Moncef" userId="895ef482-96ff-4dd4-9c74-0dc92131d96c" providerId="ADAL" clId="{DC4C8E46-2EE3-4495-BB2E-C5CE97105787}" dt="2023-02-17T11:09:04.932" v="2921" actId="478"/>
          <ac:picMkLst>
            <pc:docMk/>
            <pc:sldMk cId="160286315" sldId="533"/>
            <ac:picMk id="7" creationId="{FE7E5F10-B59C-6B66-8D9D-AE4AFFECED37}"/>
          </ac:picMkLst>
        </pc:picChg>
        <pc:picChg chg="add mod">
          <ac:chgData name="HADHRI Moncef" userId="895ef482-96ff-4dd4-9c74-0dc92131d96c" providerId="ADAL" clId="{DC4C8E46-2EE3-4495-BB2E-C5CE97105787}" dt="2023-02-17T11:09:27.642" v="2930" actId="1076"/>
          <ac:picMkLst>
            <pc:docMk/>
            <pc:sldMk cId="160286315" sldId="533"/>
            <ac:picMk id="8" creationId="{D2290552-EE93-D217-C9FC-63293A9F9AED}"/>
          </ac:picMkLst>
        </pc:picChg>
        <pc:cxnChg chg="add del mod">
          <ac:chgData name="HADHRI Moncef" userId="895ef482-96ff-4dd4-9c74-0dc92131d96c" providerId="ADAL" clId="{DC4C8E46-2EE3-4495-BB2E-C5CE97105787}" dt="2023-02-17T11:09:04.288" v="2920" actId="478"/>
          <ac:cxnSpMkLst>
            <pc:docMk/>
            <pc:sldMk cId="160286315" sldId="533"/>
            <ac:cxnSpMk id="6" creationId="{E224BF05-82A1-7FBF-953C-AFC8A0034658}"/>
          </ac:cxnSpMkLst>
        </pc:cxn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08810239" sldId="534"/>
        </pc:sldMkLst>
        <pc:spChg chg="mod">
          <ac:chgData name="HADHRI Moncef" userId="895ef482-96ff-4dd4-9c74-0dc92131d96c" providerId="ADAL" clId="{DC4C8E46-2EE3-4495-BB2E-C5CE97105787}" dt="2023-02-17T11:09:38.302" v="2933" actId="113"/>
          <ac:spMkLst>
            <pc:docMk/>
            <pc:sldMk cId="3408810239" sldId="534"/>
            <ac:spMk id="2" creationId="{00000000-0000-0000-0000-000000000000}"/>
          </ac:spMkLst>
        </pc:spChg>
        <pc:picChg chg="mod">
          <ac:chgData name="HADHRI Moncef" userId="895ef482-96ff-4dd4-9c74-0dc92131d96c" providerId="ADAL" clId="{DC4C8E46-2EE3-4495-BB2E-C5CE97105787}" dt="2023-02-17T11:09:35.765" v="2932" actId="1076"/>
          <ac:picMkLst>
            <pc:docMk/>
            <pc:sldMk cId="3408810239" sldId="534"/>
            <ac:picMk id="7" creationId="{6574FF07-674E-4C05-B854-9FC0294B4F54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580970320" sldId="536"/>
        </pc:sldMkLst>
        <pc:spChg chg="mod">
          <ac:chgData name="HADHRI Moncef" userId="895ef482-96ff-4dd4-9c74-0dc92131d96c" providerId="ADAL" clId="{DC4C8E46-2EE3-4495-BB2E-C5CE97105787}" dt="2023-02-17T11:15:36.030" v="2981" actId="113"/>
          <ac:spMkLst>
            <pc:docMk/>
            <pc:sldMk cId="1580970320" sldId="536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15:01.651" v="2967" actId="478"/>
          <ac:spMkLst>
            <pc:docMk/>
            <pc:sldMk cId="1580970320" sldId="536"/>
            <ac:spMk id="3" creationId="{B7D23DB6-FE30-4C35-55B0-7BD316628038}"/>
          </ac:spMkLst>
        </pc:spChg>
        <pc:spChg chg="add del mod">
          <ac:chgData name="HADHRI Moncef" userId="895ef482-96ff-4dd4-9c74-0dc92131d96c" providerId="ADAL" clId="{DC4C8E46-2EE3-4495-BB2E-C5CE97105787}" dt="2023-02-17T11:15:08.042" v="2971" actId="478"/>
          <ac:spMkLst>
            <pc:docMk/>
            <pc:sldMk cId="1580970320" sldId="536"/>
            <ac:spMk id="4" creationId="{E6BBF387-DD42-7D58-BF5B-9FB13084FCD0}"/>
          </ac:spMkLst>
        </pc:spChg>
        <pc:spChg chg="add del mod">
          <ac:chgData name="HADHRI Moncef" userId="895ef482-96ff-4dd4-9c74-0dc92131d96c" providerId="ADAL" clId="{DC4C8E46-2EE3-4495-BB2E-C5CE97105787}" dt="2023-02-17T11:15:12.387" v="2975" actId="478"/>
          <ac:spMkLst>
            <pc:docMk/>
            <pc:sldMk cId="1580970320" sldId="536"/>
            <ac:spMk id="8" creationId="{93672567-9D1E-C2F2-60F0-9736754DBDB5}"/>
          </ac:spMkLst>
        </pc:spChg>
        <pc:spChg chg="add del mod">
          <ac:chgData name="HADHRI Moncef" userId="895ef482-96ff-4dd4-9c74-0dc92131d96c" providerId="ADAL" clId="{DC4C8E46-2EE3-4495-BB2E-C5CE97105787}" dt="2023-02-17T11:15:03.323" v="2968" actId="478"/>
          <ac:spMkLst>
            <pc:docMk/>
            <pc:sldMk cId="1580970320" sldId="536"/>
            <ac:spMk id="10" creationId="{BD3BB25E-3A7C-48C0-FD26-6E226BA8B3D0}"/>
          </ac:spMkLst>
        </pc:spChg>
        <pc:spChg chg="add del mod">
          <ac:chgData name="HADHRI Moncef" userId="895ef482-96ff-4dd4-9c74-0dc92131d96c" providerId="ADAL" clId="{DC4C8E46-2EE3-4495-BB2E-C5CE97105787}" dt="2023-02-17T11:15:06.209" v="2970" actId="478"/>
          <ac:spMkLst>
            <pc:docMk/>
            <pc:sldMk cId="1580970320" sldId="536"/>
            <ac:spMk id="13" creationId="{D7025AC3-AC6E-FF74-0348-77CAD84EA26B}"/>
          </ac:spMkLst>
        </pc:spChg>
        <pc:picChg chg="del">
          <ac:chgData name="HADHRI Moncef" userId="895ef482-96ff-4dd4-9c74-0dc92131d96c" providerId="ADAL" clId="{DC4C8E46-2EE3-4495-BB2E-C5CE97105787}" dt="2023-02-17T11:14:58.449" v="2966" actId="478"/>
          <ac:picMkLst>
            <pc:docMk/>
            <pc:sldMk cId="1580970320" sldId="536"/>
            <ac:picMk id="7" creationId="{929C68C8-BDF3-B292-F88A-FF7D57CEDB4A}"/>
          </ac:picMkLst>
        </pc:picChg>
        <pc:picChg chg="add mod">
          <ac:chgData name="HADHRI Moncef" userId="895ef482-96ff-4dd4-9c74-0dc92131d96c" providerId="ADAL" clId="{DC4C8E46-2EE3-4495-BB2E-C5CE97105787}" dt="2023-02-17T11:15:29.825" v="2980" actId="14100"/>
          <ac:picMkLst>
            <pc:docMk/>
            <pc:sldMk cId="1580970320" sldId="536"/>
            <ac:picMk id="11" creationId="{02497FB5-0735-CAE8-8DA1-5B3432D6ACAE}"/>
          </ac:picMkLst>
        </pc:picChg>
        <pc:cxnChg chg="add del mod">
          <ac:chgData name="HADHRI Moncef" userId="895ef482-96ff-4dd4-9c74-0dc92131d96c" providerId="ADAL" clId="{DC4C8E46-2EE3-4495-BB2E-C5CE97105787}" dt="2023-02-03T11:32:33.521" v="1826" actId="478"/>
          <ac:cxnSpMkLst>
            <pc:docMk/>
            <pc:sldMk cId="1580970320" sldId="536"/>
            <ac:cxnSpMk id="4" creationId="{90E8D7C0-E4F2-009B-7929-25D45434C0F9}"/>
          </ac:cxnSpMkLst>
        </pc:cxnChg>
        <pc:cxnChg chg="add del mod">
          <ac:chgData name="HADHRI Moncef" userId="895ef482-96ff-4dd4-9c74-0dc92131d96c" providerId="ADAL" clId="{DC4C8E46-2EE3-4495-BB2E-C5CE97105787}" dt="2023-02-17T11:15:09.075" v="2972" actId="478"/>
          <ac:cxnSpMkLst>
            <pc:docMk/>
            <pc:sldMk cId="1580970320" sldId="536"/>
            <ac:cxnSpMk id="5" creationId="{A6972B2E-61FF-3213-E3BB-0D7BD0B02EFB}"/>
          </ac:cxnSpMkLst>
        </pc:cxnChg>
        <pc:cxnChg chg="add del mod">
          <ac:chgData name="HADHRI Moncef" userId="895ef482-96ff-4dd4-9c74-0dc92131d96c" providerId="ADAL" clId="{DC4C8E46-2EE3-4495-BB2E-C5CE97105787}" dt="2023-02-17T11:15:09.914" v="2973" actId="478"/>
          <ac:cxnSpMkLst>
            <pc:docMk/>
            <pc:sldMk cId="1580970320" sldId="536"/>
            <ac:cxnSpMk id="9" creationId="{80460411-4B21-3625-304B-DF59A4635ACF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992291547" sldId="537"/>
        </pc:sldMkLst>
        <pc:spChg chg="mod">
          <ac:chgData name="HADHRI Moncef" userId="895ef482-96ff-4dd4-9c74-0dc92131d96c" providerId="ADAL" clId="{DC4C8E46-2EE3-4495-BB2E-C5CE97105787}" dt="2023-02-17T11:23:02.883" v="3008" actId="113"/>
          <ac:spMkLst>
            <pc:docMk/>
            <pc:sldMk cId="3992291547" sldId="537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22:13.354" v="2994" actId="478"/>
          <ac:spMkLst>
            <pc:docMk/>
            <pc:sldMk cId="3992291547" sldId="537"/>
            <ac:spMk id="3" creationId="{AAD2C099-E037-7D15-4C30-51E964881992}"/>
          </ac:spMkLst>
        </pc:spChg>
        <pc:spChg chg="add del mod">
          <ac:chgData name="HADHRI Moncef" userId="895ef482-96ff-4dd4-9c74-0dc92131d96c" providerId="ADAL" clId="{DC4C8E46-2EE3-4495-BB2E-C5CE97105787}" dt="2023-02-17T11:22:20.673" v="3000" actId="478"/>
          <ac:spMkLst>
            <pc:docMk/>
            <pc:sldMk cId="3992291547" sldId="537"/>
            <ac:spMk id="4" creationId="{E832A4BB-3CA0-F1F9-C827-D88495BD4B41}"/>
          </ac:spMkLst>
        </pc:spChg>
        <pc:spChg chg="add del mod">
          <ac:chgData name="HADHRI Moncef" userId="895ef482-96ff-4dd4-9c74-0dc92131d96c" providerId="ADAL" clId="{DC4C8E46-2EE3-4495-BB2E-C5CE97105787}" dt="2023-02-17T11:22:15.483" v="2996" actId="478"/>
          <ac:spMkLst>
            <pc:docMk/>
            <pc:sldMk cId="3992291547" sldId="537"/>
            <ac:spMk id="5" creationId="{D4876CD4-7232-F70C-607A-4B6BFB387D51}"/>
          </ac:spMkLst>
        </pc:spChg>
        <pc:spChg chg="add del mod">
          <ac:chgData name="HADHRI Moncef" userId="895ef482-96ff-4dd4-9c74-0dc92131d96c" providerId="ADAL" clId="{DC4C8E46-2EE3-4495-BB2E-C5CE97105787}" dt="2023-02-17T11:22:23.707" v="3002" actId="478"/>
          <ac:spMkLst>
            <pc:docMk/>
            <pc:sldMk cId="3992291547" sldId="537"/>
            <ac:spMk id="7" creationId="{58A00F4E-D1EB-65C1-B3E0-0596C4AD60A8}"/>
          </ac:spMkLst>
        </pc:spChg>
        <pc:spChg chg="add del mod">
          <ac:chgData name="HADHRI Moncef" userId="895ef482-96ff-4dd4-9c74-0dc92131d96c" providerId="ADAL" clId="{DC4C8E46-2EE3-4495-BB2E-C5CE97105787}" dt="2023-02-17T11:22:16.818" v="2997" actId="478"/>
          <ac:spMkLst>
            <pc:docMk/>
            <pc:sldMk cId="3992291547" sldId="537"/>
            <ac:spMk id="9" creationId="{43E44EF8-294B-50CA-5290-92CB1662812E}"/>
          </ac:spMkLst>
        </pc:spChg>
        <pc:picChg chg="del mod">
          <ac:chgData name="HADHRI Moncef" userId="895ef482-96ff-4dd4-9c74-0dc92131d96c" providerId="ADAL" clId="{DC4C8E46-2EE3-4495-BB2E-C5CE97105787}" dt="2023-02-17T11:22:11.162" v="2993" actId="478"/>
          <ac:picMkLst>
            <pc:docMk/>
            <pc:sldMk cId="3992291547" sldId="537"/>
            <ac:picMk id="6" creationId="{05C4FEC4-BE7F-9FF4-7E17-C6109C4B2564}"/>
          </ac:picMkLst>
        </pc:picChg>
        <pc:picChg chg="add mod">
          <ac:chgData name="HADHRI Moncef" userId="895ef482-96ff-4dd4-9c74-0dc92131d96c" providerId="ADAL" clId="{DC4C8E46-2EE3-4495-BB2E-C5CE97105787}" dt="2023-02-17T11:22:52.290" v="3007" actId="14100"/>
          <ac:picMkLst>
            <pc:docMk/>
            <pc:sldMk cId="3992291547" sldId="537"/>
            <ac:picMk id="12" creationId="{62DE971A-948C-DB1E-75AE-982492AFE720}"/>
          </ac:picMkLst>
        </pc:picChg>
        <pc:cxnChg chg="add del mod">
          <ac:chgData name="HADHRI Moncef" userId="895ef482-96ff-4dd4-9c74-0dc92131d96c" providerId="ADAL" clId="{DC4C8E46-2EE3-4495-BB2E-C5CE97105787}" dt="2023-02-03T11:34:21.360" v="1851" actId="478"/>
          <ac:cxnSpMkLst>
            <pc:docMk/>
            <pc:sldMk cId="3992291547" sldId="537"/>
            <ac:cxnSpMk id="4" creationId="{027CCF94-8C16-F2DE-596B-05FEE4646968}"/>
          </ac:cxnSpMkLst>
        </pc:cxnChg>
        <pc:cxnChg chg="add del mod">
          <ac:chgData name="HADHRI Moncef" userId="895ef482-96ff-4dd4-9c74-0dc92131d96c" providerId="ADAL" clId="{DC4C8E46-2EE3-4495-BB2E-C5CE97105787}" dt="2023-02-17T11:22:17.333" v="2998" actId="478"/>
          <ac:cxnSpMkLst>
            <pc:docMk/>
            <pc:sldMk cId="3992291547" sldId="537"/>
            <ac:cxnSpMk id="8" creationId="{2A07FCDF-59B9-5BF0-3AE0-671585D85C8F}"/>
          </ac:cxnSpMkLst>
        </pc:cxnChg>
        <pc:cxnChg chg="add del mod">
          <ac:chgData name="HADHRI Moncef" userId="895ef482-96ff-4dd4-9c74-0dc92131d96c" providerId="ADAL" clId="{DC4C8E46-2EE3-4495-BB2E-C5CE97105787}" dt="2023-02-17T11:22:19.705" v="2999" actId="478"/>
          <ac:cxnSpMkLst>
            <pc:docMk/>
            <pc:sldMk cId="3992291547" sldId="537"/>
            <ac:cxnSpMk id="10" creationId="{C15FAA83-C17F-5E08-1F4C-6B474CEDE723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17T13:24:29.402" v="3398" actId="1035"/>
        <pc:sldMkLst>
          <pc:docMk/>
          <pc:sldMk cId="4234730277" sldId="538"/>
        </pc:sldMkLst>
        <pc:spChg chg="mod">
          <ac:chgData name="HADHRI Moncef" userId="895ef482-96ff-4dd4-9c74-0dc92131d96c" providerId="ADAL" clId="{DC4C8E46-2EE3-4495-BB2E-C5CE97105787}" dt="2023-02-17T13:24:29.402" v="3398" actId="1035"/>
          <ac:spMkLst>
            <pc:docMk/>
            <pc:sldMk cId="4234730277" sldId="538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23:27.172" v="3011" actId="478"/>
          <ac:spMkLst>
            <pc:docMk/>
            <pc:sldMk cId="4234730277" sldId="538"/>
            <ac:spMk id="3" creationId="{A91CED77-10ED-9BBC-CED1-03AB7CC01911}"/>
          </ac:spMkLst>
        </pc:spChg>
        <pc:picChg chg="add mod">
          <ac:chgData name="HADHRI Moncef" userId="895ef482-96ff-4dd4-9c74-0dc92131d96c" providerId="ADAL" clId="{DC4C8E46-2EE3-4495-BB2E-C5CE97105787}" dt="2023-02-17T11:24:06.689" v="3019" actId="14100"/>
          <ac:picMkLst>
            <pc:docMk/>
            <pc:sldMk cId="4234730277" sldId="538"/>
            <ac:picMk id="7" creationId="{9F0A1CB2-AE5A-B998-3568-2D88450F3A3E}"/>
          </ac:picMkLst>
        </pc:picChg>
        <pc:picChg chg="del">
          <ac:chgData name="HADHRI Moncef" userId="895ef482-96ff-4dd4-9c74-0dc92131d96c" providerId="ADAL" clId="{DC4C8E46-2EE3-4495-BB2E-C5CE97105787}" dt="2023-02-17T11:23:24.491" v="3009" actId="478"/>
          <ac:picMkLst>
            <pc:docMk/>
            <pc:sldMk cId="4234730277" sldId="538"/>
            <ac:picMk id="9" creationId="{02DFA5D5-3830-CD53-9F58-15D2FC5810E8}"/>
          </ac:picMkLst>
        </pc:picChg>
        <pc:cxnChg chg="add del mod">
          <ac:chgData name="HADHRI Moncef" userId="895ef482-96ff-4dd4-9c74-0dc92131d96c" providerId="ADAL" clId="{DC4C8E46-2EE3-4495-BB2E-C5CE97105787}" dt="2023-02-17T11:23:31.345" v="3013" actId="478"/>
          <ac:cxnSpMkLst>
            <pc:docMk/>
            <pc:sldMk cId="4234730277" sldId="538"/>
            <ac:cxnSpMk id="4" creationId="{9C5C5022-4EFE-F1E9-E571-78310B720D71}"/>
          </ac:cxnSpMkLst>
        </pc:cxnChg>
        <pc:cxnChg chg="add del mod">
          <ac:chgData name="HADHRI Moncef" userId="895ef482-96ff-4dd4-9c74-0dc92131d96c" providerId="ADAL" clId="{DC4C8E46-2EE3-4495-BB2E-C5CE97105787}" dt="2023-02-17T11:23:30.410" v="3012" actId="478"/>
          <ac:cxnSpMkLst>
            <pc:docMk/>
            <pc:sldMk cId="4234730277" sldId="538"/>
            <ac:cxnSpMk id="6" creationId="{F5CF4321-DE84-CB1A-219D-1F724AD8EDB8}"/>
          </ac:cxnSpMkLst>
        </pc:cxnChg>
        <pc:cxnChg chg="add del mod">
          <ac:chgData name="HADHRI Moncef" userId="895ef482-96ff-4dd4-9c74-0dc92131d96c" providerId="ADAL" clId="{DC4C8E46-2EE3-4495-BB2E-C5CE97105787}" dt="2023-02-17T11:23:25.985" v="3010" actId="478"/>
          <ac:cxnSpMkLst>
            <pc:docMk/>
            <pc:sldMk cId="4234730277" sldId="538"/>
            <ac:cxnSpMk id="10" creationId="{4F1B0216-10CB-1338-8AEF-EAB92FE5CCE1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4125945156" sldId="539"/>
        </pc:sldMkLst>
        <pc:spChg chg="mod">
          <ac:chgData name="HADHRI Moncef" userId="895ef482-96ff-4dd4-9c74-0dc92131d96c" providerId="ADAL" clId="{DC4C8E46-2EE3-4495-BB2E-C5CE97105787}" dt="2023-02-17T11:25:59.825" v="3042" actId="113"/>
          <ac:spMkLst>
            <pc:docMk/>
            <pc:sldMk cId="4125945156" sldId="539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25:19.170" v="3033" actId="478"/>
          <ac:spMkLst>
            <pc:docMk/>
            <pc:sldMk cId="4125945156" sldId="539"/>
            <ac:spMk id="3" creationId="{009CBBEF-1DDD-FD49-2764-0A9A318FE2A1}"/>
          </ac:spMkLst>
        </pc:spChg>
        <pc:picChg chg="add del mod">
          <ac:chgData name="HADHRI Moncef" userId="895ef482-96ff-4dd4-9c74-0dc92131d96c" providerId="ADAL" clId="{DC4C8E46-2EE3-4495-BB2E-C5CE97105787}" dt="2023-02-17T11:25:32.827" v="3037" actId="478"/>
          <ac:picMkLst>
            <pc:docMk/>
            <pc:sldMk cId="4125945156" sldId="539"/>
            <ac:picMk id="6" creationId="{57386E10-DAFF-DEB3-723F-172AFAF246AF}"/>
          </ac:picMkLst>
        </pc:picChg>
        <pc:picChg chg="del mod">
          <ac:chgData name="HADHRI Moncef" userId="895ef482-96ff-4dd4-9c74-0dc92131d96c" providerId="ADAL" clId="{DC4C8E46-2EE3-4495-BB2E-C5CE97105787}" dt="2023-02-17T11:25:15.803" v="3030" actId="478"/>
          <ac:picMkLst>
            <pc:docMk/>
            <pc:sldMk cId="4125945156" sldId="539"/>
            <ac:picMk id="7" creationId="{682BFB9B-3282-ABBF-ADBF-BEA5DAD8390B}"/>
          </ac:picMkLst>
        </pc:picChg>
        <pc:picChg chg="add mod">
          <ac:chgData name="HADHRI Moncef" userId="895ef482-96ff-4dd4-9c74-0dc92131d96c" providerId="ADAL" clId="{DC4C8E46-2EE3-4495-BB2E-C5CE97105787}" dt="2023-02-17T11:25:56.675" v="3041" actId="14100"/>
          <ac:picMkLst>
            <pc:docMk/>
            <pc:sldMk cId="4125945156" sldId="539"/>
            <ac:picMk id="10" creationId="{461E589A-91B3-5129-EC6F-C2118E6E96B0}"/>
          </ac:picMkLst>
        </pc:picChg>
        <pc:cxnChg chg="add del mod">
          <ac:chgData name="HADHRI Moncef" userId="895ef482-96ff-4dd4-9c74-0dc92131d96c" providerId="ADAL" clId="{DC4C8E46-2EE3-4495-BB2E-C5CE97105787}" dt="2023-02-17T11:25:18.217" v="3032" actId="478"/>
          <ac:cxnSpMkLst>
            <pc:docMk/>
            <pc:sldMk cId="4125945156" sldId="539"/>
            <ac:cxnSpMk id="4" creationId="{FF135B2A-C718-7198-EF98-63943CD723F1}"/>
          </ac:cxnSpMkLst>
        </pc:cxnChg>
        <pc:cxnChg chg="add del mod">
          <ac:chgData name="HADHRI Moncef" userId="895ef482-96ff-4dd4-9c74-0dc92131d96c" providerId="ADAL" clId="{DC4C8E46-2EE3-4495-BB2E-C5CE97105787}" dt="2023-02-17T11:25:16.761" v="3031" actId="478"/>
          <ac:cxnSpMkLst>
            <pc:docMk/>
            <pc:sldMk cId="4125945156" sldId="539"/>
            <ac:cxnSpMk id="9" creationId="{6730A6D8-7A95-DC8B-79F2-7326566E3B4F}"/>
          </ac:cxnSpMkLst>
        </pc:cxnChg>
      </pc:sldChg>
      <pc:sldChg chg="addSp delSp modSp mod modTransition">
        <pc:chgData name="HADHRI Moncef" userId="895ef482-96ff-4dd4-9c74-0dc92131d96c" providerId="ADAL" clId="{DC4C8E46-2EE3-4495-BB2E-C5CE97105787}" dt="2023-02-22T16:15:06.984" v="3945" actId="113"/>
        <pc:sldMkLst>
          <pc:docMk/>
          <pc:sldMk cId="1691932536" sldId="540"/>
        </pc:sldMkLst>
        <pc:spChg chg="mod">
          <ac:chgData name="HADHRI Moncef" userId="895ef482-96ff-4dd4-9c74-0dc92131d96c" providerId="ADAL" clId="{DC4C8E46-2EE3-4495-BB2E-C5CE97105787}" dt="2023-02-22T16:15:06.984" v="3945" actId="113"/>
          <ac:spMkLst>
            <pc:docMk/>
            <pc:sldMk cId="1691932536" sldId="540"/>
            <ac:spMk id="2" creationId="{00000000-0000-0000-0000-000000000000}"/>
          </ac:spMkLst>
        </pc:spChg>
        <pc:spChg chg="add del mod">
          <ac:chgData name="HADHRI Moncef" userId="895ef482-96ff-4dd4-9c74-0dc92131d96c" providerId="ADAL" clId="{DC4C8E46-2EE3-4495-BB2E-C5CE97105787}" dt="2023-02-17T11:26:12.083" v="3043" actId="478"/>
          <ac:spMkLst>
            <pc:docMk/>
            <pc:sldMk cId="1691932536" sldId="540"/>
            <ac:spMk id="3" creationId="{99CA9417-4C45-6AA5-5A67-06FB80563440}"/>
          </ac:spMkLst>
        </pc:spChg>
        <pc:spChg chg="add del mod">
          <ac:chgData name="HADHRI Moncef" userId="895ef482-96ff-4dd4-9c74-0dc92131d96c" providerId="ADAL" clId="{DC4C8E46-2EE3-4495-BB2E-C5CE97105787}" dt="2023-02-17T11:26:16.856" v="3047" actId="478"/>
          <ac:spMkLst>
            <pc:docMk/>
            <pc:sldMk cId="1691932536" sldId="540"/>
            <ac:spMk id="4" creationId="{36811E49-5672-6D9B-6795-79307C57568B}"/>
          </ac:spMkLst>
        </pc:spChg>
        <pc:spChg chg="add del mod">
          <ac:chgData name="HADHRI Moncef" userId="895ef482-96ff-4dd4-9c74-0dc92131d96c" providerId="ADAL" clId="{DC4C8E46-2EE3-4495-BB2E-C5CE97105787}" dt="2023-02-03T13:14:26.582" v="2201"/>
          <ac:spMkLst>
            <pc:docMk/>
            <pc:sldMk cId="1691932536" sldId="540"/>
            <ac:spMk id="7" creationId="{AF0EEB67-99C5-47F0-C5CA-ED58EBAD682D}"/>
          </ac:spMkLst>
        </pc:spChg>
        <pc:spChg chg="add del mod">
          <ac:chgData name="HADHRI Moncef" userId="895ef482-96ff-4dd4-9c74-0dc92131d96c" providerId="ADAL" clId="{DC4C8E46-2EE3-4495-BB2E-C5CE97105787}" dt="2023-02-17T11:26:15.041" v="3045" actId="478"/>
          <ac:spMkLst>
            <pc:docMk/>
            <pc:sldMk cId="1691932536" sldId="540"/>
            <ac:spMk id="10" creationId="{A7216E8D-301F-68B8-6901-9C58EB5456F1}"/>
          </ac:spMkLst>
        </pc:spChg>
        <pc:spChg chg="add del mod">
          <ac:chgData name="HADHRI Moncef" userId="895ef482-96ff-4dd4-9c74-0dc92131d96c" providerId="ADAL" clId="{DC4C8E46-2EE3-4495-BB2E-C5CE97105787}" dt="2023-02-17T11:26:20.850" v="3050" actId="478"/>
          <ac:spMkLst>
            <pc:docMk/>
            <pc:sldMk cId="1691932536" sldId="540"/>
            <ac:spMk id="14" creationId="{6A88CD81-5EA7-D8BF-8BF1-7A0AECCC336B}"/>
          </ac:spMkLst>
        </pc:spChg>
        <pc:spChg chg="add del">
          <ac:chgData name="HADHRI Moncef" userId="895ef482-96ff-4dd4-9c74-0dc92131d96c" providerId="ADAL" clId="{DC4C8E46-2EE3-4495-BB2E-C5CE97105787}" dt="2023-02-03T11:41:52.735" v="1998" actId="478"/>
          <ac:spMkLst>
            <pc:docMk/>
            <pc:sldMk cId="1691932536" sldId="540"/>
            <ac:spMk id="15" creationId="{39E04DF6-AD5C-F742-F178-0257FB3E5818}"/>
          </ac:spMkLst>
        </pc:spChg>
        <pc:spChg chg="add del mod">
          <ac:chgData name="HADHRI Moncef" userId="895ef482-96ff-4dd4-9c74-0dc92131d96c" providerId="ADAL" clId="{DC4C8E46-2EE3-4495-BB2E-C5CE97105787}" dt="2023-02-03T13:14:48.847" v="2214" actId="478"/>
          <ac:spMkLst>
            <pc:docMk/>
            <pc:sldMk cId="1691932536" sldId="540"/>
            <ac:spMk id="16" creationId="{38768DD0-B6B6-6C07-9847-9952F99EE212}"/>
          </ac:spMkLst>
        </pc:spChg>
        <pc:picChg chg="add mod">
          <ac:chgData name="HADHRI Moncef" userId="895ef482-96ff-4dd4-9c74-0dc92131d96c" providerId="ADAL" clId="{DC4C8E46-2EE3-4495-BB2E-C5CE97105787}" dt="2023-02-21T14:41:53.467" v="3769" actId="1076"/>
          <ac:picMkLst>
            <pc:docMk/>
            <pc:sldMk cId="1691932536" sldId="540"/>
            <ac:picMk id="4" creationId="{92C25BF8-D590-0A9B-EF60-CDC585D85A15}"/>
          </ac:picMkLst>
        </pc:picChg>
        <pc:picChg chg="del mod">
          <ac:chgData name="HADHRI Moncef" userId="895ef482-96ff-4dd4-9c74-0dc92131d96c" providerId="ADAL" clId="{DC4C8E46-2EE3-4495-BB2E-C5CE97105787}" dt="2023-02-17T11:26:12.650" v="3044" actId="478"/>
          <ac:picMkLst>
            <pc:docMk/>
            <pc:sldMk cId="1691932536" sldId="540"/>
            <ac:picMk id="6" creationId="{B7E603A0-3C9C-853E-24D5-C7F130D67BC9}"/>
          </ac:picMkLst>
        </pc:picChg>
        <pc:picChg chg="add del mod">
          <ac:chgData name="HADHRI Moncef" userId="895ef482-96ff-4dd4-9c74-0dc92131d96c" providerId="ADAL" clId="{DC4C8E46-2EE3-4495-BB2E-C5CE97105787}" dt="2023-02-21T14:41:38.684" v="3767" actId="478"/>
          <ac:picMkLst>
            <pc:docMk/>
            <pc:sldMk cId="1691932536" sldId="540"/>
            <ac:picMk id="8" creationId="{662BD244-4178-B942-E411-0256A6D291B0}"/>
          </ac:picMkLst>
        </pc:picChg>
        <pc:cxnChg chg="add del mod">
          <ac:chgData name="HADHRI Moncef" userId="895ef482-96ff-4dd4-9c74-0dc92131d96c" providerId="ADAL" clId="{DC4C8E46-2EE3-4495-BB2E-C5CE97105787}" dt="2023-02-17T11:26:16.105" v="3046" actId="478"/>
          <ac:cxnSpMkLst>
            <pc:docMk/>
            <pc:sldMk cId="1691932536" sldId="540"/>
            <ac:cxnSpMk id="5" creationId="{78C412EC-9F97-C798-CE2D-6E7F48459C5A}"/>
          </ac:cxnSpMkLst>
        </pc:cxnChg>
        <pc:cxnChg chg="add del mod">
          <ac:chgData name="HADHRI Moncef" userId="895ef482-96ff-4dd4-9c74-0dc92131d96c" providerId="ADAL" clId="{DC4C8E46-2EE3-4495-BB2E-C5CE97105787}" dt="2023-02-17T11:26:19.451" v="3049" actId="478"/>
          <ac:cxnSpMkLst>
            <pc:docMk/>
            <pc:sldMk cId="1691932536" sldId="540"/>
            <ac:cxnSpMk id="11" creationId="{3355169E-7FF7-77DC-9477-CCE4F71EFD71}"/>
          </ac:cxnSpMkLst>
        </pc:cxn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3458925768" sldId="543"/>
        </pc:sldMkLst>
        <pc:spChg chg="mod">
          <ac:chgData name="HADHRI Moncef" userId="895ef482-96ff-4dd4-9c74-0dc92131d96c" providerId="ADAL" clId="{DC4C8E46-2EE3-4495-BB2E-C5CE97105787}" dt="2023-02-17T12:09:48.444" v="3085" actId="113"/>
          <ac:spMkLst>
            <pc:docMk/>
            <pc:sldMk cId="3458925768" sldId="543"/>
            <ac:spMk id="2" creationId="{00000000-0000-0000-0000-000000000000}"/>
          </ac:spMkLst>
        </pc:spChg>
      </pc:sldChg>
      <pc:sldChg chg="addSp delSp modSp mod modTransition">
        <pc:chgData name="HADHRI Moncef" userId="895ef482-96ff-4dd4-9c74-0dc92131d96c" providerId="ADAL" clId="{DC4C8E46-2EE3-4495-BB2E-C5CE97105787}" dt="2023-02-22T16:07:48.295" v="3901" actId="1076"/>
        <pc:sldMkLst>
          <pc:docMk/>
          <pc:sldMk cId="2969974098" sldId="546"/>
        </pc:sldMkLst>
        <pc:spChg chg="add del mod">
          <ac:chgData name="HADHRI Moncef" userId="895ef482-96ff-4dd4-9c74-0dc92131d96c" providerId="ADAL" clId="{DC4C8E46-2EE3-4495-BB2E-C5CE97105787}" dt="2023-02-17T10:42:10.723" v="2819" actId="478"/>
          <ac:spMkLst>
            <pc:docMk/>
            <pc:sldMk cId="2969974098" sldId="546"/>
            <ac:spMk id="2" creationId="{3ADBDE59-F6EB-3D0B-218F-427699C5F768}"/>
          </ac:spMkLst>
        </pc:spChg>
        <pc:spChg chg="add del mod">
          <ac:chgData name="HADHRI Moncef" userId="895ef482-96ff-4dd4-9c74-0dc92131d96c" providerId="ADAL" clId="{DC4C8E46-2EE3-4495-BB2E-C5CE97105787}" dt="2023-02-17T10:42:08.983" v="2817" actId="478"/>
          <ac:spMkLst>
            <pc:docMk/>
            <pc:sldMk cId="2969974098" sldId="546"/>
            <ac:spMk id="3" creationId="{DACB9E50-F0EE-AF56-C844-C6F7941B8667}"/>
          </ac:spMkLst>
        </pc:spChg>
        <pc:spChg chg="mod">
          <ac:chgData name="HADHRI Moncef" userId="895ef482-96ff-4dd4-9c74-0dc92131d96c" providerId="ADAL" clId="{DC4C8E46-2EE3-4495-BB2E-C5CE97105787}" dt="2023-02-17T11:02:22.405" v="2915" actId="113"/>
          <ac:spMkLst>
            <pc:docMk/>
            <pc:sldMk cId="2969974098" sldId="546"/>
            <ac:spMk id="7171" creationId="{00000000-0000-0000-0000-000000000000}"/>
          </ac:spMkLst>
        </pc:spChg>
        <pc:picChg chg="add del mod">
          <ac:chgData name="HADHRI Moncef" userId="895ef482-96ff-4dd4-9c74-0dc92131d96c" providerId="ADAL" clId="{DC4C8E46-2EE3-4495-BB2E-C5CE97105787}" dt="2023-02-17T10:42:30.195" v="2823" actId="478"/>
          <ac:picMkLst>
            <pc:docMk/>
            <pc:sldMk cId="2969974098" sldId="546"/>
            <ac:picMk id="5" creationId="{60FA0A0E-A11C-EFF3-4118-EE13C9811CD2}"/>
          </ac:picMkLst>
        </pc:picChg>
        <pc:picChg chg="add mod">
          <ac:chgData name="HADHRI Moncef" userId="895ef482-96ff-4dd4-9c74-0dc92131d96c" providerId="ADAL" clId="{DC4C8E46-2EE3-4495-BB2E-C5CE97105787}" dt="2023-02-22T16:07:48.295" v="3901" actId="1076"/>
          <ac:picMkLst>
            <pc:docMk/>
            <pc:sldMk cId="2969974098" sldId="546"/>
            <ac:picMk id="7" creationId="{C923272D-8B18-5A7D-8FF0-732963FFB160}"/>
          </ac:picMkLst>
        </pc:picChg>
        <pc:picChg chg="del">
          <ac:chgData name="HADHRI Moncef" userId="895ef482-96ff-4dd4-9c74-0dc92131d96c" providerId="ADAL" clId="{DC4C8E46-2EE3-4495-BB2E-C5CE97105787}" dt="2023-02-17T10:42:09.800" v="2818" actId="478"/>
          <ac:picMkLst>
            <pc:docMk/>
            <pc:sldMk cId="2969974098" sldId="546"/>
            <ac:picMk id="8" creationId="{67DDF61F-E920-288D-AE30-9EB0C7FA8702}"/>
          </ac:picMkLst>
        </pc:picChg>
      </pc:sldChg>
      <pc:sldChg chg="modSp mod modTransition">
        <pc:chgData name="HADHRI Moncef" userId="895ef482-96ff-4dd4-9c74-0dc92131d96c" providerId="ADAL" clId="{DC4C8E46-2EE3-4495-BB2E-C5CE97105787}" dt="2023-02-22T16:06:16.161" v="3893" actId="20577"/>
        <pc:sldMkLst>
          <pc:docMk/>
          <pc:sldMk cId="4149952134" sldId="547"/>
        </pc:sldMkLst>
        <pc:spChg chg="mod">
          <ac:chgData name="HADHRI Moncef" userId="895ef482-96ff-4dd4-9c74-0dc92131d96c" providerId="ADAL" clId="{DC4C8E46-2EE3-4495-BB2E-C5CE97105787}" dt="2023-02-22T16:06:16.161" v="3893" actId="20577"/>
          <ac:spMkLst>
            <pc:docMk/>
            <pc:sldMk cId="4149952134" sldId="547"/>
            <ac:spMk id="2" creationId="{07A733BF-2020-DB2D-D701-8A85F5AB89BD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657724479" sldId="548"/>
        </pc:sldMkLst>
        <pc:spChg chg="mod">
          <ac:chgData name="HADHRI Moncef" userId="895ef482-96ff-4dd4-9c74-0dc92131d96c" providerId="ADAL" clId="{DC4C8E46-2EE3-4495-BB2E-C5CE97105787}" dt="2023-02-17T11:04:59.302" v="2918" actId="113"/>
          <ac:spMkLst>
            <pc:docMk/>
            <pc:sldMk cId="2657724479" sldId="548"/>
            <ac:spMk id="7171" creationId="{00000000-0000-0000-0000-000000000000}"/>
          </ac:spMkLst>
        </pc:spChg>
      </pc:sldChg>
      <pc:sldChg chg="addSp delSp modSp mod modTransition">
        <pc:chgData name="HADHRI Moncef" userId="895ef482-96ff-4dd4-9c74-0dc92131d96c" providerId="ADAL" clId="{DC4C8E46-2EE3-4495-BB2E-C5CE97105787}" dt="2023-02-22T16:08:42.731" v="3917" actId="14100"/>
        <pc:sldMkLst>
          <pc:docMk/>
          <pc:sldMk cId="4068901997" sldId="549"/>
        </pc:sldMkLst>
        <pc:spChg chg="add del mod">
          <ac:chgData name="HADHRI Moncef" userId="895ef482-96ff-4dd4-9c74-0dc92131d96c" providerId="ADAL" clId="{DC4C8E46-2EE3-4495-BB2E-C5CE97105787}" dt="2023-02-17T10:41:21.065" v="2811" actId="478"/>
          <ac:spMkLst>
            <pc:docMk/>
            <pc:sldMk cId="4068901997" sldId="549"/>
            <ac:spMk id="2" creationId="{B70E8AD3-8AD0-7EE2-FA3A-0F7AE54E0551}"/>
          </ac:spMkLst>
        </pc:spChg>
        <pc:spChg chg="mod">
          <ac:chgData name="HADHRI Moncef" userId="895ef482-96ff-4dd4-9c74-0dc92131d96c" providerId="ADAL" clId="{DC4C8E46-2EE3-4495-BB2E-C5CE97105787}" dt="2023-02-22T16:08:42.731" v="3917" actId="14100"/>
          <ac:spMkLst>
            <pc:docMk/>
            <pc:sldMk cId="4068901997" sldId="549"/>
            <ac:spMk id="9" creationId="{9A422980-625F-BA23-4801-1CF91D5E65B4}"/>
          </ac:spMkLst>
        </pc:spChg>
        <pc:picChg chg="add mod">
          <ac:chgData name="HADHRI Moncef" userId="895ef482-96ff-4dd4-9c74-0dc92131d96c" providerId="ADAL" clId="{DC4C8E46-2EE3-4495-BB2E-C5CE97105787}" dt="2023-02-17T13:29:19.831" v="3583" actId="1076"/>
          <ac:picMkLst>
            <pc:docMk/>
            <pc:sldMk cId="4068901997" sldId="549"/>
            <ac:picMk id="4" creationId="{F9E85786-0CFC-3EE7-6DF7-1BAD643B3761}"/>
          </ac:picMkLst>
        </pc:picChg>
        <pc:picChg chg="del">
          <ac:chgData name="HADHRI Moncef" userId="895ef482-96ff-4dd4-9c74-0dc92131d96c" providerId="ADAL" clId="{DC4C8E46-2EE3-4495-BB2E-C5CE97105787}" dt="2023-02-17T10:41:19.690" v="2810" actId="478"/>
          <ac:picMkLst>
            <pc:docMk/>
            <pc:sldMk cId="4068901997" sldId="549"/>
            <ac:picMk id="7" creationId="{8373C473-7A39-E2D7-2D8A-B91722007043}"/>
          </ac:picMkLst>
        </pc:picChg>
      </pc:sldChg>
      <pc:sldChg chg="addSp delSp modSp mod modTransition">
        <pc:chgData name="HADHRI Moncef" userId="895ef482-96ff-4dd4-9c74-0dc92131d96c" providerId="ADAL" clId="{DC4C8E46-2EE3-4495-BB2E-C5CE97105787}" dt="2023-02-22T16:10:16.295" v="3939" actId="14100"/>
        <pc:sldMkLst>
          <pc:docMk/>
          <pc:sldMk cId="2491726269" sldId="2134805399"/>
        </pc:sldMkLst>
        <pc:spChg chg="mod">
          <ac:chgData name="HADHRI Moncef" userId="895ef482-96ff-4dd4-9c74-0dc92131d96c" providerId="ADAL" clId="{DC4C8E46-2EE3-4495-BB2E-C5CE97105787}" dt="2023-02-17T13:23:18.754" v="3324" actId="14100"/>
          <ac:spMkLst>
            <pc:docMk/>
            <pc:sldMk cId="2491726269" sldId="2134805399"/>
            <ac:spMk id="2" creationId="{9D442E6A-D5BA-4BAE-84A1-384DE6C05BFB}"/>
          </ac:spMkLst>
        </pc:spChg>
        <pc:spChg chg="add del mod">
          <ac:chgData name="HADHRI Moncef" userId="895ef482-96ff-4dd4-9c74-0dc92131d96c" providerId="ADAL" clId="{DC4C8E46-2EE3-4495-BB2E-C5CE97105787}" dt="2023-02-17T10:44:49.681" v="2840" actId="478"/>
          <ac:spMkLst>
            <pc:docMk/>
            <pc:sldMk cId="2491726269" sldId="2134805399"/>
            <ac:spMk id="4" creationId="{196C5C2D-3A2C-0F70-F95B-78CB65AFDDF6}"/>
          </ac:spMkLst>
        </pc:spChg>
        <pc:spChg chg="add del mod">
          <ac:chgData name="HADHRI Moncef" userId="895ef482-96ff-4dd4-9c74-0dc92131d96c" providerId="ADAL" clId="{DC4C8E46-2EE3-4495-BB2E-C5CE97105787}" dt="2023-02-17T10:44:51.915" v="2842" actId="478"/>
          <ac:spMkLst>
            <pc:docMk/>
            <pc:sldMk cId="2491726269" sldId="2134805399"/>
            <ac:spMk id="5" creationId="{E0466C43-DDA5-4AE4-2F7C-7EC9AD2B14C3}"/>
          </ac:spMkLst>
        </pc:spChg>
        <pc:picChg chg="add mod">
          <ac:chgData name="HADHRI Moncef" userId="895ef482-96ff-4dd4-9c74-0dc92131d96c" providerId="ADAL" clId="{DC4C8E46-2EE3-4495-BB2E-C5CE97105787}" dt="2023-02-22T16:10:16.295" v="3939" actId="14100"/>
          <ac:picMkLst>
            <pc:docMk/>
            <pc:sldMk cId="2491726269" sldId="2134805399"/>
            <ac:picMk id="5" creationId="{14315B04-A178-201E-7256-AFF2C7507027}"/>
          </ac:picMkLst>
        </pc:picChg>
        <pc:picChg chg="add del mod">
          <ac:chgData name="HADHRI Moncef" userId="895ef482-96ff-4dd4-9c74-0dc92131d96c" providerId="ADAL" clId="{DC4C8E46-2EE3-4495-BB2E-C5CE97105787}" dt="2023-02-17T10:45:04.453" v="2847" actId="478"/>
          <ac:picMkLst>
            <pc:docMk/>
            <pc:sldMk cId="2491726269" sldId="2134805399"/>
            <ac:picMk id="10" creationId="{2FEAD636-997F-5437-C654-AC6A7C9B8AA4}"/>
          </ac:picMkLst>
        </pc:picChg>
        <pc:picChg chg="del">
          <ac:chgData name="HADHRI Moncef" userId="895ef482-96ff-4dd4-9c74-0dc92131d96c" providerId="ADAL" clId="{DC4C8E46-2EE3-4495-BB2E-C5CE97105787}" dt="2023-02-17T10:44:47.656" v="2839" actId="478"/>
          <ac:picMkLst>
            <pc:docMk/>
            <pc:sldMk cId="2491726269" sldId="2134805399"/>
            <ac:picMk id="11" creationId="{ABF4EC86-3213-79A2-0BD5-A895C3580512}"/>
          </ac:picMkLst>
        </pc:picChg>
        <pc:picChg chg="add del mod">
          <ac:chgData name="HADHRI Moncef" userId="895ef482-96ff-4dd4-9c74-0dc92131d96c" providerId="ADAL" clId="{DC4C8E46-2EE3-4495-BB2E-C5CE97105787}" dt="2023-02-22T16:10:07.032" v="3935" actId="478"/>
          <ac:picMkLst>
            <pc:docMk/>
            <pc:sldMk cId="2491726269" sldId="2134805399"/>
            <ac:picMk id="13" creationId="{0C3FDD4B-743F-872E-1C8A-2C226F3F6C89}"/>
          </ac:picMkLst>
        </pc:picChg>
        <pc:cxnChg chg="add del mod">
          <ac:chgData name="HADHRI Moncef" userId="895ef482-96ff-4dd4-9c74-0dc92131d96c" providerId="ADAL" clId="{DC4C8E46-2EE3-4495-BB2E-C5CE97105787}" dt="2023-02-17T10:44:50.405" v="2841" actId="478"/>
          <ac:cxnSpMkLst>
            <pc:docMk/>
            <pc:sldMk cId="2491726269" sldId="2134805399"/>
            <ac:cxnSpMk id="7" creationId="{8FC4E9E9-F8B6-D8D1-9AF3-CC08B4A1B9A2}"/>
          </ac:cxnSpMkLst>
        </pc:cxnChg>
        <pc:cxnChg chg="add del mod">
          <ac:chgData name="HADHRI Moncef" userId="895ef482-96ff-4dd4-9c74-0dc92131d96c" providerId="ADAL" clId="{DC4C8E46-2EE3-4495-BB2E-C5CE97105787}" dt="2023-02-17T10:44:52.425" v="2843" actId="478"/>
          <ac:cxnSpMkLst>
            <pc:docMk/>
            <pc:sldMk cId="2491726269" sldId="2134805399"/>
            <ac:cxnSpMk id="8" creationId="{691F38AB-F81D-A273-0AD8-8B24B976FB45}"/>
          </ac:cxnSpMkLst>
        </pc:cxn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170594155" sldId="2134805400"/>
        </pc:sldMkLst>
        <pc:spChg chg="mod">
          <ac:chgData name="HADHRI Moncef" userId="895ef482-96ff-4dd4-9c74-0dc92131d96c" providerId="ADAL" clId="{DC4C8E46-2EE3-4495-BB2E-C5CE97105787}" dt="2023-02-17T12:09:12.816" v="3077" actId="207"/>
          <ac:spMkLst>
            <pc:docMk/>
            <pc:sldMk cId="2170594155" sldId="2134805400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1990773259" sldId="2134805401"/>
        </pc:sldMkLst>
        <pc:spChg chg="mod">
          <ac:chgData name="HADHRI Moncef" userId="895ef482-96ff-4dd4-9c74-0dc92131d96c" providerId="ADAL" clId="{DC4C8E46-2EE3-4495-BB2E-C5CE97105787}" dt="2023-02-17T12:09:17.937" v="3078" actId="207"/>
          <ac:spMkLst>
            <pc:docMk/>
            <pc:sldMk cId="1990773259" sldId="2134805401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2:12:19.966" v="3093"/>
        <pc:sldMkLst>
          <pc:docMk/>
          <pc:sldMk cId="2818283143" sldId="2134805402"/>
        </pc:sldMkLst>
        <pc:spChg chg="mod">
          <ac:chgData name="HADHRI Moncef" userId="895ef482-96ff-4dd4-9c74-0dc92131d96c" providerId="ADAL" clId="{DC4C8E46-2EE3-4495-BB2E-C5CE97105787}" dt="2023-02-17T12:09:53.048" v="3086" actId="207"/>
          <ac:spMkLst>
            <pc:docMk/>
            <pc:sldMk cId="2818283143" sldId="2134805402"/>
            <ac:spMk id="2" creationId="{00000000-0000-0000-0000-000000000000}"/>
          </ac:spMkLst>
        </pc:spChg>
      </pc:sldChg>
      <pc:sldChg chg="modSp mod modTransition">
        <pc:chgData name="HADHRI Moncef" userId="895ef482-96ff-4dd4-9c74-0dc92131d96c" providerId="ADAL" clId="{DC4C8E46-2EE3-4495-BB2E-C5CE97105787}" dt="2023-02-17T13:26:25.465" v="3493" actId="14100"/>
        <pc:sldMkLst>
          <pc:docMk/>
          <pc:sldMk cId="2844338126" sldId="2134805403"/>
        </pc:sldMkLst>
        <pc:spChg chg="mod">
          <ac:chgData name="HADHRI Moncef" userId="895ef482-96ff-4dd4-9c74-0dc92131d96c" providerId="ADAL" clId="{DC4C8E46-2EE3-4495-BB2E-C5CE97105787}" dt="2023-02-17T13:26:25.465" v="3493" actId="14100"/>
          <ac:spMkLst>
            <pc:docMk/>
            <pc:sldMk cId="2844338126" sldId="2134805403"/>
            <ac:spMk id="2" creationId="{00000000-0000-0000-0000-000000000000}"/>
          </ac:spMkLst>
        </pc:spChg>
      </pc:sldChg>
      <pc:sldChg chg="addSp delSp modSp add del mod">
        <pc:chgData name="HADHRI Moncef" userId="895ef482-96ff-4dd4-9c74-0dc92131d96c" providerId="ADAL" clId="{DC4C8E46-2EE3-4495-BB2E-C5CE97105787}" dt="2023-02-17T10:13:54.358" v="2671" actId="47"/>
        <pc:sldMkLst>
          <pc:docMk/>
          <pc:sldMk cId="1583848708" sldId="2134805404"/>
        </pc:sldMkLst>
        <pc:spChg chg="del">
          <ac:chgData name="HADHRI Moncef" userId="895ef482-96ff-4dd4-9c74-0dc92131d96c" providerId="ADAL" clId="{DC4C8E46-2EE3-4495-BB2E-C5CE97105787}" dt="2023-02-03T13:01:24.067" v="2151" actId="478"/>
          <ac:spMkLst>
            <pc:docMk/>
            <pc:sldMk cId="1583848708" sldId="2134805404"/>
            <ac:spMk id="2" creationId="{46D4856B-10DB-42B8-3FBD-0834C60E19A4}"/>
          </ac:spMkLst>
        </pc:spChg>
        <pc:spChg chg="del">
          <ac:chgData name="HADHRI Moncef" userId="895ef482-96ff-4dd4-9c74-0dc92131d96c" providerId="ADAL" clId="{DC4C8E46-2EE3-4495-BB2E-C5CE97105787}" dt="2023-02-03T13:01:27.134" v="2153" actId="478"/>
          <ac:spMkLst>
            <pc:docMk/>
            <pc:sldMk cId="1583848708" sldId="2134805404"/>
            <ac:spMk id="3" creationId="{F671350F-848E-197F-798C-243D35B318AA}"/>
          </ac:spMkLst>
        </pc:spChg>
        <pc:spChg chg="del">
          <ac:chgData name="HADHRI Moncef" userId="895ef482-96ff-4dd4-9c74-0dc92131d96c" providerId="ADAL" clId="{DC4C8E46-2EE3-4495-BB2E-C5CE97105787}" dt="2023-02-03T13:01:25.235" v="2152" actId="478"/>
          <ac:spMkLst>
            <pc:docMk/>
            <pc:sldMk cId="1583848708" sldId="2134805404"/>
            <ac:spMk id="8" creationId="{DA394017-7176-7AF6-C1F9-7ABCD906AF95}"/>
          </ac:spMkLst>
        </pc:spChg>
        <pc:spChg chg="del">
          <ac:chgData name="HADHRI Moncef" userId="895ef482-96ff-4dd4-9c74-0dc92131d96c" providerId="ADAL" clId="{DC4C8E46-2EE3-4495-BB2E-C5CE97105787}" dt="2023-02-03T13:01:29.724" v="2155" actId="478"/>
          <ac:spMkLst>
            <pc:docMk/>
            <pc:sldMk cId="1583848708" sldId="2134805404"/>
            <ac:spMk id="9" creationId="{5553DF13-4B6F-A1E4-3EB1-8EC6D8762576}"/>
          </ac:spMkLst>
        </pc:spChg>
        <pc:spChg chg="add mod">
          <ac:chgData name="HADHRI Moncef" userId="895ef482-96ff-4dd4-9c74-0dc92131d96c" providerId="ADAL" clId="{DC4C8E46-2EE3-4495-BB2E-C5CE97105787}" dt="2023-02-03T13:05:51.840" v="2184" actId="1036"/>
          <ac:spMkLst>
            <pc:docMk/>
            <pc:sldMk cId="1583848708" sldId="2134805404"/>
            <ac:spMk id="10" creationId="{780F915C-7271-7E60-E2FF-4DBE6E7FD91F}"/>
          </ac:spMkLst>
        </pc:spChg>
        <pc:picChg chg="del mod">
          <ac:chgData name="HADHRI Moncef" userId="895ef482-96ff-4dd4-9c74-0dc92131d96c" providerId="ADAL" clId="{DC4C8E46-2EE3-4495-BB2E-C5CE97105787}" dt="2023-02-03T13:04:39.026" v="2173" actId="478"/>
          <ac:picMkLst>
            <pc:docMk/>
            <pc:sldMk cId="1583848708" sldId="2134805404"/>
            <ac:picMk id="4" creationId="{9D009E36-6A8A-F9DB-0629-4317C92EFCDE}"/>
          </ac:picMkLst>
        </pc:picChg>
        <pc:picChg chg="del">
          <ac:chgData name="HADHRI Moncef" userId="895ef482-96ff-4dd4-9c74-0dc92131d96c" providerId="ADAL" clId="{DC4C8E46-2EE3-4495-BB2E-C5CE97105787}" dt="2023-02-03T13:01:22.267" v="2150" actId="478"/>
          <ac:picMkLst>
            <pc:docMk/>
            <pc:sldMk cId="1583848708" sldId="2134805404"/>
            <ac:picMk id="6" creationId="{89EED9BD-5592-5C96-3B1E-C000BF6EA7BD}"/>
          </ac:picMkLst>
        </pc:picChg>
        <pc:picChg chg="mod">
          <ac:chgData name="HADHRI Moncef" userId="895ef482-96ff-4dd4-9c74-0dc92131d96c" providerId="ADAL" clId="{DC4C8E46-2EE3-4495-BB2E-C5CE97105787}" dt="2023-02-03T13:04:49.732" v="2176" actId="1076"/>
          <ac:picMkLst>
            <pc:docMk/>
            <pc:sldMk cId="1583848708" sldId="2134805404"/>
            <ac:picMk id="14" creationId="{0AD4B6B0-6788-35B3-E876-DDFABD935574}"/>
          </ac:picMkLst>
        </pc:picChg>
        <pc:cxnChg chg="del">
          <ac:chgData name="HADHRI Moncef" userId="895ef482-96ff-4dd4-9c74-0dc92131d96c" providerId="ADAL" clId="{DC4C8E46-2EE3-4495-BB2E-C5CE97105787}" dt="2023-02-03T13:01:28.032" v="2154" actId="478"/>
          <ac:cxnSpMkLst>
            <pc:docMk/>
            <pc:sldMk cId="1583848708" sldId="2134805404"/>
            <ac:cxnSpMk id="5" creationId="{8A7BC02A-F77B-1D98-CD37-9AA6500DA5E1}"/>
          </ac:cxnSpMkLst>
        </pc:cxnChg>
        <pc:cxnChg chg="add del mod">
          <ac:chgData name="HADHRI Moncef" userId="895ef482-96ff-4dd4-9c74-0dc92131d96c" providerId="ADAL" clId="{DC4C8E46-2EE3-4495-BB2E-C5CE97105787}" dt="2023-02-03T13:04:51.869" v="2177" actId="21"/>
          <ac:cxnSpMkLst>
            <pc:docMk/>
            <pc:sldMk cId="1583848708" sldId="2134805404"/>
            <ac:cxnSpMk id="11" creationId="{F96F3F92-31A0-6FBF-3DB2-72848A084DF3}"/>
          </ac:cxnSpMkLst>
        </pc:cxnChg>
        <pc:cxnChg chg="add mod">
          <ac:chgData name="HADHRI Moncef" userId="895ef482-96ff-4dd4-9c74-0dc92131d96c" providerId="ADAL" clId="{DC4C8E46-2EE3-4495-BB2E-C5CE97105787}" dt="2023-02-03T13:05:03.705" v="2180" actId="14100"/>
          <ac:cxnSpMkLst>
            <pc:docMk/>
            <pc:sldMk cId="1583848708" sldId="2134805404"/>
            <ac:cxnSpMk id="15" creationId="{EDE2E607-D34E-6D2C-BBE7-7BAE569C2B3F}"/>
          </ac:cxnSpMkLst>
        </pc:cxnChg>
        <pc:cxnChg chg="add mod">
          <ac:chgData name="HADHRI Moncef" userId="895ef482-96ff-4dd4-9c74-0dc92131d96c" providerId="ADAL" clId="{DC4C8E46-2EE3-4495-BB2E-C5CE97105787}" dt="2023-02-03T13:05:10.590" v="2183" actId="14100"/>
          <ac:cxnSpMkLst>
            <pc:docMk/>
            <pc:sldMk cId="1583848708" sldId="2134805404"/>
            <ac:cxnSpMk id="18" creationId="{AA434D4B-0216-E2E0-1944-3DF3FF7878F7}"/>
          </ac:cxnSpMkLst>
        </pc:cxnChg>
      </pc:sldChg>
      <pc:sldChg chg="addSp delSp modSp add del mod">
        <pc:chgData name="HADHRI Moncef" userId="895ef482-96ff-4dd4-9c74-0dc92131d96c" providerId="ADAL" clId="{DC4C8E46-2EE3-4495-BB2E-C5CE97105787}" dt="2023-02-17T12:08:02.277" v="3065" actId="47"/>
        <pc:sldMkLst>
          <pc:docMk/>
          <pc:sldMk cId="1667690825" sldId="2134805405"/>
        </pc:sldMkLst>
        <pc:spChg chg="del mod">
          <ac:chgData name="HADHRI Moncef" userId="895ef482-96ff-4dd4-9c74-0dc92131d96c" providerId="ADAL" clId="{DC4C8E46-2EE3-4495-BB2E-C5CE97105787}" dt="2023-02-03T13:14:39.620" v="2211" actId="478"/>
          <ac:spMkLst>
            <pc:docMk/>
            <pc:sldMk cId="1667690825" sldId="2134805405"/>
            <ac:spMk id="3" creationId="{99CA9417-4C45-6AA5-5A67-06FB80563440}"/>
          </ac:spMkLst>
        </pc:spChg>
        <pc:spChg chg="del mod">
          <ac:chgData name="HADHRI Moncef" userId="895ef482-96ff-4dd4-9c74-0dc92131d96c" providerId="ADAL" clId="{DC4C8E46-2EE3-4495-BB2E-C5CE97105787}" dt="2023-02-03T13:14:36.842" v="2209" actId="478"/>
          <ac:spMkLst>
            <pc:docMk/>
            <pc:sldMk cId="1667690825" sldId="2134805405"/>
            <ac:spMk id="4" creationId="{36811E49-5672-6D9B-6795-79307C57568B}"/>
          </ac:spMkLst>
        </pc:spChg>
        <pc:spChg chg="add mod">
          <ac:chgData name="HADHRI Moncef" userId="895ef482-96ff-4dd4-9c74-0dc92131d96c" providerId="ADAL" clId="{DC4C8E46-2EE3-4495-BB2E-C5CE97105787}" dt="2023-02-03T13:16:29.049" v="2334" actId="1076"/>
          <ac:spMkLst>
            <pc:docMk/>
            <pc:sldMk cId="1667690825" sldId="2134805405"/>
            <ac:spMk id="9" creationId="{BAE91F7E-E8C5-697E-AE0A-8624BE4CDD81}"/>
          </ac:spMkLst>
        </pc:spChg>
        <pc:spChg chg="del">
          <ac:chgData name="HADHRI Moncef" userId="895ef482-96ff-4dd4-9c74-0dc92131d96c" providerId="ADAL" clId="{DC4C8E46-2EE3-4495-BB2E-C5CE97105787}" dt="2023-02-03T13:14:31.945" v="2204" actId="478"/>
          <ac:spMkLst>
            <pc:docMk/>
            <pc:sldMk cId="1667690825" sldId="2134805405"/>
            <ac:spMk id="10" creationId="{A7216E8D-301F-68B8-6901-9C58EB5456F1}"/>
          </ac:spMkLst>
        </pc:spChg>
        <pc:spChg chg="del">
          <ac:chgData name="HADHRI Moncef" userId="895ef482-96ff-4dd4-9c74-0dc92131d96c" providerId="ADAL" clId="{DC4C8E46-2EE3-4495-BB2E-C5CE97105787}" dt="2023-02-03T13:14:33.450" v="2206" actId="478"/>
          <ac:spMkLst>
            <pc:docMk/>
            <pc:sldMk cId="1667690825" sldId="2134805405"/>
            <ac:spMk id="14" creationId="{6A88CD81-5EA7-D8BF-8BF1-7A0AECCC336B}"/>
          </ac:spMkLst>
        </pc:spChg>
        <pc:spChg chg="del mod">
          <ac:chgData name="HADHRI Moncef" userId="895ef482-96ff-4dd4-9c74-0dc92131d96c" providerId="ADAL" clId="{DC4C8E46-2EE3-4495-BB2E-C5CE97105787}" dt="2023-02-03T13:14:43.017" v="2213" actId="478"/>
          <ac:spMkLst>
            <pc:docMk/>
            <pc:sldMk cId="1667690825" sldId="2134805405"/>
            <ac:spMk id="16" creationId="{38768DD0-B6B6-6C07-9847-9952F99EE212}"/>
          </ac:spMkLst>
        </pc:spChg>
        <pc:picChg chg="del">
          <ac:chgData name="HADHRI Moncef" userId="895ef482-96ff-4dd4-9c74-0dc92131d96c" providerId="ADAL" clId="{DC4C8E46-2EE3-4495-BB2E-C5CE97105787}" dt="2023-02-03T13:14:30.638" v="2203" actId="478"/>
          <ac:picMkLst>
            <pc:docMk/>
            <pc:sldMk cId="1667690825" sldId="2134805405"/>
            <ac:picMk id="6" creationId="{B7E603A0-3C9C-853E-24D5-C7F130D67BC9}"/>
          </ac:picMkLst>
        </pc:picChg>
        <pc:picChg chg="add mod">
          <ac:chgData name="HADHRI Moncef" userId="895ef482-96ff-4dd4-9c74-0dc92131d96c" providerId="ADAL" clId="{DC4C8E46-2EE3-4495-BB2E-C5CE97105787}" dt="2023-02-03T13:16:46.212" v="2338" actId="1076"/>
          <ac:picMkLst>
            <pc:docMk/>
            <pc:sldMk cId="1667690825" sldId="2134805405"/>
            <ac:picMk id="7" creationId="{DDB24AB8-635A-1D2F-5867-D111D186E770}"/>
          </ac:picMkLst>
        </pc:picChg>
        <pc:picChg chg="mod">
          <ac:chgData name="HADHRI Moncef" userId="895ef482-96ff-4dd4-9c74-0dc92131d96c" providerId="ADAL" clId="{DC4C8E46-2EE3-4495-BB2E-C5CE97105787}" dt="2023-02-03T13:16:51.594" v="2339" actId="1076"/>
          <ac:picMkLst>
            <pc:docMk/>
            <pc:sldMk cId="1667690825" sldId="2134805405"/>
            <ac:picMk id="8" creationId="{E48CB3B5-41D3-8BE1-9C48-A4C57EBD9F04}"/>
          </ac:picMkLst>
        </pc:picChg>
        <pc:cxnChg chg="del">
          <ac:chgData name="HADHRI Moncef" userId="895ef482-96ff-4dd4-9c74-0dc92131d96c" providerId="ADAL" clId="{DC4C8E46-2EE3-4495-BB2E-C5CE97105787}" dt="2023-02-03T13:14:34.402" v="2207" actId="478"/>
          <ac:cxnSpMkLst>
            <pc:docMk/>
            <pc:sldMk cId="1667690825" sldId="2134805405"/>
            <ac:cxnSpMk id="5" creationId="{78C412EC-9F97-C798-CE2D-6E7F48459C5A}"/>
          </ac:cxnSpMkLst>
        </pc:cxnChg>
        <pc:cxnChg chg="del">
          <ac:chgData name="HADHRI Moncef" userId="895ef482-96ff-4dd4-9c74-0dc92131d96c" providerId="ADAL" clId="{DC4C8E46-2EE3-4495-BB2E-C5CE97105787}" dt="2023-02-03T13:14:35.299" v="2208" actId="478"/>
          <ac:cxnSpMkLst>
            <pc:docMk/>
            <pc:sldMk cId="1667690825" sldId="2134805405"/>
            <ac:cxnSpMk id="11" creationId="{3355169E-7FF7-77DC-9477-CCE4F71EFD71}"/>
          </ac:cxnSpMkLst>
        </pc:cxnChg>
        <pc:cxnChg chg="add mod">
          <ac:chgData name="HADHRI Moncef" userId="895ef482-96ff-4dd4-9c74-0dc92131d96c" providerId="ADAL" clId="{DC4C8E46-2EE3-4495-BB2E-C5CE97105787}" dt="2023-02-03T13:16:43.162" v="2337" actId="14100"/>
          <ac:cxnSpMkLst>
            <pc:docMk/>
            <pc:sldMk cId="1667690825" sldId="2134805405"/>
            <ac:cxnSpMk id="12" creationId="{F8A3096C-EC77-05FE-3041-EB411E6B607F}"/>
          </ac:cxnSpMkLst>
        </pc:cxnChg>
      </pc:sldChg>
      <pc:sldChg chg="addSp delSp modSp add del mod modTransition">
        <pc:chgData name="HADHRI Moncef" userId="895ef482-96ff-4dd4-9c74-0dc92131d96c" providerId="ADAL" clId="{DC4C8E46-2EE3-4495-BB2E-C5CE97105787}" dt="2023-02-23T08:35:56.192" v="3956" actId="1076"/>
        <pc:sldMkLst>
          <pc:docMk/>
          <pc:sldMk cId="579598447" sldId="2134805417"/>
        </pc:sldMkLst>
        <pc:spChg chg="add del mod">
          <ac:chgData name="HADHRI Moncef" userId="895ef482-96ff-4dd4-9c74-0dc92131d96c" providerId="ADAL" clId="{DC4C8E46-2EE3-4495-BB2E-C5CE97105787}" dt="2023-02-17T10:16:59.762" v="2679" actId="478"/>
          <ac:spMkLst>
            <pc:docMk/>
            <pc:sldMk cId="579598447" sldId="2134805417"/>
            <ac:spMk id="3" creationId="{91CE0C35-091B-A586-478F-026E3071C8F4}"/>
          </ac:spMkLst>
        </pc:spChg>
        <pc:spChg chg="mod">
          <ac:chgData name="HADHRI Moncef" userId="895ef482-96ff-4dd4-9c74-0dc92131d96c" providerId="ADAL" clId="{DC4C8E46-2EE3-4495-BB2E-C5CE97105787}" dt="2023-02-17T12:21:19.126" v="3304" actId="14100"/>
          <ac:spMkLst>
            <pc:docMk/>
            <pc:sldMk cId="579598447" sldId="2134805417"/>
            <ac:spMk id="7" creationId="{00000000-0000-0000-0000-000000000000}"/>
          </ac:spMkLst>
        </pc:spChg>
        <pc:spChg chg="del">
          <ac:chgData name="HADHRI Moncef" userId="895ef482-96ff-4dd4-9c74-0dc92131d96c" providerId="ADAL" clId="{DC4C8E46-2EE3-4495-BB2E-C5CE97105787}" dt="2023-02-17T10:17:32.495" v="2687" actId="478"/>
          <ac:spMkLst>
            <pc:docMk/>
            <pc:sldMk cId="579598447" sldId="2134805417"/>
            <ac:spMk id="8" creationId="{0C8329A0-497F-0F4F-180B-D89B5027B134}"/>
          </ac:spMkLst>
        </pc:spChg>
        <pc:spChg chg="del mod topLvl">
          <ac:chgData name="HADHRI Moncef" userId="895ef482-96ff-4dd4-9c74-0dc92131d96c" providerId="ADAL" clId="{DC4C8E46-2EE3-4495-BB2E-C5CE97105787}" dt="2023-02-03T15:44:36.467" v="2442" actId="478"/>
          <ac:spMkLst>
            <pc:docMk/>
            <pc:sldMk cId="579598447" sldId="2134805417"/>
            <ac:spMk id="11" creationId="{8808AAD8-AE1A-EA69-6858-DB87CBE40C6B}"/>
          </ac:spMkLst>
        </pc:spChg>
        <pc:spChg chg="add del mod">
          <ac:chgData name="HADHRI Moncef" userId="895ef482-96ff-4dd4-9c74-0dc92131d96c" providerId="ADAL" clId="{DC4C8E46-2EE3-4495-BB2E-C5CE97105787}" dt="2023-02-17T10:17:22.353" v="2684" actId="478"/>
          <ac:spMkLst>
            <pc:docMk/>
            <pc:sldMk cId="579598447" sldId="2134805417"/>
            <ac:spMk id="12" creationId="{74AC1717-5DB9-383E-2564-9A2D09898C6F}"/>
          </ac:spMkLst>
        </pc:spChg>
        <pc:spChg chg="del">
          <ac:chgData name="HADHRI Moncef" userId="895ef482-96ff-4dd4-9c74-0dc92131d96c" providerId="ADAL" clId="{DC4C8E46-2EE3-4495-BB2E-C5CE97105787}" dt="2023-02-17T10:17:37.631" v="2691" actId="478"/>
          <ac:spMkLst>
            <pc:docMk/>
            <pc:sldMk cId="579598447" sldId="2134805417"/>
            <ac:spMk id="13" creationId="{65742EF2-9D3C-39E0-C521-A9F2314689C5}"/>
          </ac:spMkLst>
        </pc:spChg>
        <pc:spChg chg="del">
          <ac:chgData name="HADHRI Moncef" userId="895ef482-96ff-4dd4-9c74-0dc92131d96c" providerId="ADAL" clId="{DC4C8E46-2EE3-4495-BB2E-C5CE97105787}" dt="2023-02-17T10:17:36.567" v="2690" actId="478"/>
          <ac:spMkLst>
            <pc:docMk/>
            <pc:sldMk cId="579598447" sldId="2134805417"/>
            <ac:spMk id="14" creationId="{66F39CBB-A4BB-A65F-FBC0-A5C21641BDB6}"/>
          </ac:spMkLst>
        </pc:spChg>
        <pc:spChg chg="del mod">
          <ac:chgData name="HADHRI Moncef" userId="895ef482-96ff-4dd4-9c74-0dc92131d96c" providerId="ADAL" clId="{DC4C8E46-2EE3-4495-BB2E-C5CE97105787}" dt="2023-02-17T10:17:38.918" v="2692" actId="478"/>
          <ac:spMkLst>
            <pc:docMk/>
            <pc:sldMk cId="579598447" sldId="2134805417"/>
            <ac:spMk id="15" creationId="{71ABF6D4-5FB9-9612-117B-E9621AFEED71}"/>
          </ac:spMkLst>
        </pc:spChg>
        <pc:spChg chg="del topLvl">
          <ac:chgData name="HADHRI Moncef" userId="895ef482-96ff-4dd4-9c74-0dc92131d96c" providerId="ADAL" clId="{DC4C8E46-2EE3-4495-BB2E-C5CE97105787}" dt="2023-02-17T10:17:33.426" v="2688" actId="478"/>
          <ac:spMkLst>
            <pc:docMk/>
            <pc:sldMk cId="579598447" sldId="2134805417"/>
            <ac:spMk id="18" creationId="{37F21FB0-1D78-6140-5B22-2213ACB60F0B}"/>
          </ac:spMkLst>
        </pc:spChg>
        <pc:spChg chg="add del mod">
          <ac:chgData name="HADHRI Moncef" userId="895ef482-96ff-4dd4-9c74-0dc92131d96c" providerId="ADAL" clId="{DC4C8E46-2EE3-4495-BB2E-C5CE97105787}" dt="2023-02-17T10:17:24.531" v="2686" actId="478"/>
          <ac:spMkLst>
            <pc:docMk/>
            <pc:sldMk cId="579598447" sldId="2134805417"/>
            <ac:spMk id="22" creationId="{5A3D624F-ABE1-DEF9-0DBB-78AF6BF82F1B}"/>
          </ac:spMkLst>
        </pc:spChg>
        <pc:grpChg chg="del">
          <ac:chgData name="HADHRI Moncef" userId="895ef482-96ff-4dd4-9c74-0dc92131d96c" providerId="ADAL" clId="{DC4C8E46-2EE3-4495-BB2E-C5CE97105787}" dt="2023-02-03T15:44:36.467" v="2442" actId="478"/>
          <ac:grpSpMkLst>
            <pc:docMk/>
            <pc:sldMk cId="579598447" sldId="2134805417"/>
            <ac:grpSpMk id="20" creationId="{8B1143E4-A06F-D7FD-FD96-1B26D9FD4151}"/>
          </ac:grpSpMkLst>
        </pc:grpChg>
        <pc:picChg chg="del">
          <ac:chgData name="HADHRI Moncef" userId="895ef482-96ff-4dd4-9c74-0dc92131d96c" providerId="ADAL" clId="{DC4C8E46-2EE3-4495-BB2E-C5CE97105787}" dt="2023-02-17T10:16:58.066" v="2678" actId="478"/>
          <ac:picMkLst>
            <pc:docMk/>
            <pc:sldMk cId="579598447" sldId="2134805417"/>
            <ac:picMk id="2" creationId="{87DB0802-4490-C8CA-EEEE-10DE9C5C7D99}"/>
          </ac:picMkLst>
        </pc:picChg>
        <pc:picChg chg="add mod">
          <ac:chgData name="HADHRI Moncef" userId="895ef482-96ff-4dd4-9c74-0dc92131d96c" providerId="ADAL" clId="{DC4C8E46-2EE3-4495-BB2E-C5CE97105787}" dt="2023-02-23T08:35:56.192" v="3956" actId="1076"/>
          <ac:picMkLst>
            <pc:docMk/>
            <pc:sldMk cId="579598447" sldId="2134805417"/>
            <ac:picMk id="3" creationId="{9D67421D-BCAE-3182-5495-9A72A961CC4E}"/>
          </ac:picMkLst>
        </pc:picChg>
        <pc:picChg chg="add del">
          <ac:chgData name="HADHRI Moncef" userId="895ef482-96ff-4dd4-9c74-0dc92131d96c" providerId="ADAL" clId="{DC4C8E46-2EE3-4495-BB2E-C5CE97105787}" dt="2023-02-17T10:18:03.624" v="2694" actId="478"/>
          <ac:picMkLst>
            <pc:docMk/>
            <pc:sldMk cId="579598447" sldId="2134805417"/>
            <ac:picMk id="9" creationId="{9390F1B1-5029-5C75-47AD-5F67AB3E8F8B}"/>
          </ac:picMkLst>
        </pc:picChg>
        <pc:picChg chg="add del mod">
          <ac:chgData name="HADHRI Moncef" userId="895ef482-96ff-4dd4-9c74-0dc92131d96c" providerId="ADAL" clId="{DC4C8E46-2EE3-4495-BB2E-C5CE97105787}" dt="2023-02-17T10:19:12.551" v="2711" actId="478"/>
          <ac:picMkLst>
            <pc:docMk/>
            <pc:sldMk cId="579598447" sldId="2134805417"/>
            <ac:picMk id="11" creationId="{42D6F0A5-A6DF-7873-1DEA-B851435F3795}"/>
          </ac:picMkLst>
        </pc:picChg>
        <pc:picChg chg="add del mod">
          <ac:chgData name="HADHRI Moncef" userId="895ef482-96ff-4dd4-9c74-0dc92131d96c" providerId="ADAL" clId="{DC4C8E46-2EE3-4495-BB2E-C5CE97105787}" dt="2023-02-17T10:19:21.344" v="2715" actId="478"/>
          <ac:picMkLst>
            <pc:docMk/>
            <pc:sldMk cId="579598447" sldId="2134805417"/>
            <ac:picMk id="19" creationId="{5CC54E44-5065-1C6F-3FD9-EAB624F7412E}"/>
          </ac:picMkLst>
        </pc:picChg>
        <pc:picChg chg="del mod">
          <ac:chgData name="HADHRI Moncef" userId="895ef482-96ff-4dd4-9c74-0dc92131d96c" providerId="ADAL" clId="{DC4C8E46-2EE3-4495-BB2E-C5CE97105787}" dt="2023-02-17T10:17:23.104" v="2685" actId="478"/>
          <ac:picMkLst>
            <pc:docMk/>
            <pc:sldMk cId="579598447" sldId="2134805417"/>
            <ac:picMk id="23" creationId="{0EA32615-3B17-4628-5998-F85158E588A8}"/>
          </ac:picMkLst>
        </pc:picChg>
        <pc:picChg chg="add del mod">
          <ac:chgData name="HADHRI Moncef" userId="895ef482-96ff-4dd4-9c74-0dc92131d96c" providerId="ADAL" clId="{DC4C8E46-2EE3-4495-BB2E-C5CE97105787}" dt="2023-02-21T14:42:40.114" v="3771" actId="478"/>
          <ac:picMkLst>
            <pc:docMk/>
            <pc:sldMk cId="579598447" sldId="2134805417"/>
            <ac:picMk id="24" creationId="{C43FD79F-6818-418C-4061-8757687065BA}"/>
          </ac:picMkLst>
        </pc:picChg>
        <pc:cxnChg chg="add del mod">
          <ac:chgData name="HADHRI Moncef" userId="895ef482-96ff-4dd4-9c74-0dc92131d96c" providerId="ADAL" clId="{DC4C8E46-2EE3-4495-BB2E-C5CE97105787}" dt="2023-02-17T10:17:00.684" v="2680" actId="478"/>
          <ac:cxnSpMkLst>
            <pc:docMk/>
            <pc:sldMk cId="579598447" sldId="2134805417"/>
            <ac:cxnSpMk id="5" creationId="{87F10021-F976-3169-3709-6246999F5355}"/>
          </ac:cxnSpMkLst>
        </pc:cxnChg>
        <pc:cxnChg chg="add del mod">
          <ac:chgData name="HADHRI Moncef" userId="895ef482-96ff-4dd4-9c74-0dc92131d96c" providerId="ADAL" clId="{DC4C8E46-2EE3-4495-BB2E-C5CE97105787}" dt="2023-02-17T10:17:02.332" v="2681" actId="478"/>
          <ac:cxnSpMkLst>
            <pc:docMk/>
            <pc:sldMk cId="579598447" sldId="2134805417"/>
            <ac:cxnSpMk id="6" creationId="{341C83F2-4460-B637-1394-298D4E9D2ACC}"/>
          </ac:cxnSpMkLst>
        </pc:cxnChg>
        <pc:cxnChg chg="add del mod">
          <ac:chgData name="HADHRI Moncef" userId="895ef482-96ff-4dd4-9c74-0dc92131d96c" providerId="ADAL" clId="{DC4C8E46-2EE3-4495-BB2E-C5CE97105787}" dt="2023-02-17T10:17:04.530" v="2682" actId="478"/>
          <ac:cxnSpMkLst>
            <pc:docMk/>
            <pc:sldMk cId="579598447" sldId="2134805417"/>
            <ac:cxnSpMk id="17" creationId="{67D8F30B-0C9A-D414-13A1-71D6A796FD5C}"/>
          </ac:cxnSpMkLst>
        </pc:cxnChg>
        <pc:cxnChg chg="add del mod">
          <ac:chgData name="HADHRI Moncef" userId="895ef482-96ff-4dd4-9c74-0dc92131d96c" providerId="ADAL" clId="{DC4C8E46-2EE3-4495-BB2E-C5CE97105787}" dt="2023-02-17T10:17:05.158" v="2683" actId="478"/>
          <ac:cxnSpMkLst>
            <pc:docMk/>
            <pc:sldMk cId="579598447" sldId="2134805417"/>
            <ac:cxnSpMk id="21" creationId="{FC2E3356-0634-CBF7-FC2E-800659C64001}"/>
          </ac:cxnSpMkLst>
        </pc:cxnChg>
      </pc:sldChg>
      <pc:sldChg chg="add del">
        <pc:chgData name="HADHRI Moncef" userId="895ef482-96ff-4dd4-9c74-0dc92131d96c" providerId="ADAL" clId="{DC4C8E46-2EE3-4495-BB2E-C5CE97105787}" dt="2023-02-03T15:52:43.480" v="2576" actId="47"/>
        <pc:sldMkLst>
          <pc:docMk/>
          <pc:sldMk cId="2228358085" sldId="2134805418"/>
        </pc:sldMkLst>
      </pc:sldChg>
    </pc:docChg>
  </pc:docChgLst>
  <pc:docChgLst>
    <pc:chgData name="Moncef HADHRI" userId="895ef482-96ff-4dd4-9c74-0dc92131d96c" providerId="ADAL" clId="{DC4C8E46-2EE3-4495-BB2E-C5CE97105787}"/>
    <pc:docChg chg="addSld delSld modSld">
      <pc:chgData name="Moncef HADHRI" userId="895ef482-96ff-4dd4-9c74-0dc92131d96c" providerId="ADAL" clId="{DC4C8E46-2EE3-4495-BB2E-C5CE97105787}" dt="2023-02-09T12:49:36.820" v="16" actId="47"/>
      <pc:docMkLst>
        <pc:docMk/>
      </pc:docMkLst>
      <pc:sldChg chg="add">
        <pc:chgData name="Moncef HADHRI" userId="895ef482-96ff-4dd4-9c74-0dc92131d96c" providerId="ADAL" clId="{DC4C8E46-2EE3-4495-BB2E-C5CE97105787}" dt="2023-02-09T12:49:32.925" v="15"/>
        <pc:sldMkLst>
          <pc:docMk/>
          <pc:sldMk cId="3486425364" sldId="431"/>
        </pc:sldMkLst>
      </pc:sldChg>
      <pc:sldChg chg="modSp mod">
        <pc:chgData name="Moncef HADHRI" userId="895ef482-96ff-4dd4-9c74-0dc92131d96c" providerId="ADAL" clId="{DC4C8E46-2EE3-4495-BB2E-C5CE97105787}" dt="2023-02-09T12:39:14.153" v="14" actId="1036"/>
        <pc:sldMkLst>
          <pc:docMk/>
          <pc:sldMk cId="1410458262" sldId="517"/>
        </pc:sldMkLst>
        <pc:picChg chg="mod">
          <ac:chgData name="Moncef HADHRI" userId="895ef482-96ff-4dd4-9c74-0dc92131d96c" providerId="ADAL" clId="{DC4C8E46-2EE3-4495-BB2E-C5CE97105787}" dt="2023-02-09T12:39:14.153" v="14" actId="1036"/>
          <ac:picMkLst>
            <pc:docMk/>
            <pc:sldMk cId="1410458262" sldId="517"/>
            <ac:picMk id="7" creationId="{9E89C76B-8428-1492-1BEB-7306F8D6BE9E}"/>
          </ac:picMkLst>
        </pc:picChg>
      </pc:sldChg>
      <pc:sldChg chg="modSp mod">
        <pc:chgData name="Moncef HADHRI" userId="895ef482-96ff-4dd4-9c74-0dc92131d96c" providerId="ADAL" clId="{DC4C8E46-2EE3-4495-BB2E-C5CE97105787}" dt="2023-02-09T12:16:47.440" v="7" actId="20577"/>
        <pc:sldMkLst>
          <pc:docMk/>
          <pc:sldMk cId="2267228707" sldId="530"/>
        </pc:sldMkLst>
        <pc:spChg chg="mod">
          <ac:chgData name="Moncef HADHRI" userId="895ef482-96ff-4dd4-9c74-0dc92131d96c" providerId="ADAL" clId="{DC4C8E46-2EE3-4495-BB2E-C5CE97105787}" dt="2023-02-09T12:16:47.440" v="7" actId="20577"/>
          <ac:spMkLst>
            <pc:docMk/>
            <pc:sldMk cId="2267228707" sldId="530"/>
            <ac:spMk id="7" creationId="{00000000-0000-0000-0000-000000000000}"/>
          </ac:spMkLst>
        </pc:spChg>
      </pc:sldChg>
      <pc:sldChg chg="del">
        <pc:chgData name="Moncef HADHRI" userId="895ef482-96ff-4dd4-9c74-0dc92131d96c" providerId="ADAL" clId="{DC4C8E46-2EE3-4495-BB2E-C5CE97105787}" dt="2023-02-09T12:49:36.820" v="16" actId="47"/>
        <pc:sldMkLst>
          <pc:docMk/>
          <pc:sldMk cId="1239266114" sldId="541"/>
        </pc:sldMkLst>
      </pc:sldChg>
      <pc:sldChg chg="del">
        <pc:chgData name="Moncef HADHRI" userId="895ef482-96ff-4dd4-9c74-0dc92131d96c" providerId="ADAL" clId="{DC4C8E46-2EE3-4495-BB2E-C5CE97105787}" dt="2023-02-09T12:49:36.820" v="16" actId="47"/>
        <pc:sldMkLst>
          <pc:docMk/>
          <pc:sldMk cId="1153277864" sldId="542"/>
        </pc:sldMkLst>
      </pc:sldChg>
    </pc:docChg>
  </pc:docChgLst>
  <pc:docChgLst>
    <pc:chgData name="HADHRI Moncef" userId="895ef482-96ff-4dd4-9c74-0dc92131d96c" providerId="ADAL" clId="{D2744BEB-55AD-403F-A1DB-30834BC0E3AC}"/>
    <pc:docChg chg="undo custSel addSld delSld modSld sldOrd">
      <pc:chgData name="HADHRI Moncef" userId="895ef482-96ff-4dd4-9c74-0dc92131d96c" providerId="ADAL" clId="{D2744BEB-55AD-403F-A1DB-30834BC0E3AC}" dt="2023-09-08T08:18:38.088" v="198"/>
      <pc:docMkLst>
        <pc:docMk/>
      </pc:docMkLst>
      <pc:sldChg chg="modSp mod">
        <pc:chgData name="HADHRI Moncef" userId="895ef482-96ff-4dd4-9c74-0dc92131d96c" providerId="ADAL" clId="{D2744BEB-55AD-403F-A1DB-30834BC0E3AC}" dt="2023-08-17T09:01:59.875" v="156" actId="20577"/>
        <pc:sldMkLst>
          <pc:docMk/>
          <pc:sldMk cId="435617243" sldId="371"/>
        </pc:sldMkLst>
        <pc:spChg chg="mod">
          <ac:chgData name="HADHRI Moncef" userId="895ef482-96ff-4dd4-9c74-0dc92131d96c" providerId="ADAL" clId="{D2744BEB-55AD-403F-A1DB-30834BC0E3AC}" dt="2023-08-17T09:01:59.875" v="156" actId="20577"/>
          <ac:spMkLst>
            <pc:docMk/>
            <pc:sldMk cId="435617243" sldId="371"/>
            <ac:spMk id="7" creationId="{66FB7B9E-1E0F-534F-9A68-2F855FF12DFE}"/>
          </ac:spMkLst>
        </pc:spChg>
      </pc:sldChg>
      <pc:sldChg chg="ord">
        <pc:chgData name="HADHRI Moncef" userId="895ef482-96ff-4dd4-9c74-0dc92131d96c" providerId="ADAL" clId="{D2744BEB-55AD-403F-A1DB-30834BC0E3AC}" dt="2023-08-17T09:01:35.787" v="117"/>
        <pc:sldMkLst>
          <pc:docMk/>
          <pc:sldMk cId="1920272730" sldId="372"/>
        </pc:sldMkLst>
      </pc:sldChg>
      <pc:sldChg chg="addSp delSp modSp mod ord">
        <pc:chgData name="HADHRI Moncef" userId="895ef482-96ff-4dd4-9c74-0dc92131d96c" providerId="ADAL" clId="{D2744BEB-55AD-403F-A1DB-30834BC0E3AC}" dt="2023-08-17T09:01:37.950" v="119"/>
        <pc:sldMkLst>
          <pc:docMk/>
          <pc:sldMk cId="3486425364" sldId="431"/>
        </pc:sldMkLst>
        <pc:spChg chg="add mod">
          <ac:chgData name="HADHRI Moncef" userId="895ef482-96ff-4dd4-9c74-0dc92131d96c" providerId="ADAL" clId="{D2744BEB-55AD-403F-A1DB-30834BC0E3AC}" dt="2023-06-29T14:12:43.906" v="108" actId="14100"/>
          <ac:spMkLst>
            <pc:docMk/>
            <pc:sldMk cId="3486425364" sldId="431"/>
            <ac:spMk id="5" creationId="{E3171D2C-2A40-AF98-7749-2801678EA579}"/>
          </ac:spMkLst>
        </pc:spChg>
        <pc:graphicFrameChg chg="add del mod">
          <ac:chgData name="HADHRI Moncef" userId="895ef482-96ff-4dd4-9c74-0dc92131d96c" providerId="ADAL" clId="{D2744BEB-55AD-403F-A1DB-30834BC0E3AC}" dt="2023-06-29T14:10:14.767" v="3"/>
          <ac:graphicFrameMkLst>
            <pc:docMk/>
            <pc:sldMk cId="3486425364" sldId="431"/>
            <ac:graphicFrameMk id="3" creationId="{2085BA49-DFA8-A6CE-C77B-545A65CAA21F}"/>
          </ac:graphicFrameMkLst>
        </pc:graphicFrameChg>
        <pc:graphicFrameChg chg="add del mod">
          <ac:chgData name="HADHRI Moncef" userId="895ef482-96ff-4dd4-9c74-0dc92131d96c" providerId="ADAL" clId="{D2744BEB-55AD-403F-A1DB-30834BC0E3AC}" dt="2023-06-29T14:10:11.697" v="2"/>
          <ac:graphicFrameMkLst>
            <pc:docMk/>
            <pc:sldMk cId="3486425364" sldId="431"/>
            <ac:graphicFrameMk id="4" creationId="{5AAED2D7-797B-34D4-6CBE-5E786C11BB9B}"/>
          </ac:graphicFrameMkLst>
        </pc:graphicFrameChg>
      </pc:sldChg>
      <pc:sldChg chg="addSp modSp">
        <pc:chgData name="HADHRI Moncef" userId="895ef482-96ff-4dd4-9c74-0dc92131d96c" providerId="ADAL" clId="{D2744BEB-55AD-403F-A1DB-30834BC0E3AC}" dt="2023-06-29T14:14:26.353" v="114"/>
        <pc:sldMkLst>
          <pc:docMk/>
          <pc:sldMk cId="3951615262" sldId="508"/>
        </pc:sldMkLst>
        <pc:spChg chg="add mod">
          <ac:chgData name="HADHRI Moncef" userId="895ef482-96ff-4dd4-9c74-0dc92131d96c" providerId="ADAL" clId="{D2744BEB-55AD-403F-A1DB-30834BC0E3AC}" dt="2023-06-29T14:14:26.353" v="114"/>
          <ac:spMkLst>
            <pc:docMk/>
            <pc:sldMk cId="3951615262" sldId="508"/>
            <ac:spMk id="3" creationId="{7FDA5B10-A4FD-6EDB-7338-8577F4313096}"/>
          </ac:spMkLst>
        </pc:spChg>
      </pc:sldChg>
      <pc:sldChg chg="addSp modSp">
        <pc:chgData name="HADHRI Moncef" userId="895ef482-96ff-4dd4-9c74-0dc92131d96c" providerId="ADAL" clId="{D2744BEB-55AD-403F-A1DB-30834BC0E3AC}" dt="2023-06-29T14:14:28.232" v="115"/>
        <pc:sldMkLst>
          <pc:docMk/>
          <pc:sldMk cId="1361385511" sldId="514"/>
        </pc:sldMkLst>
        <pc:spChg chg="add mod">
          <ac:chgData name="HADHRI Moncef" userId="895ef482-96ff-4dd4-9c74-0dc92131d96c" providerId="ADAL" clId="{D2744BEB-55AD-403F-A1DB-30834BC0E3AC}" dt="2023-06-29T14:14:28.232" v="115"/>
          <ac:spMkLst>
            <pc:docMk/>
            <pc:sldMk cId="1361385511" sldId="514"/>
            <ac:spMk id="3" creationId="{D2E8EC0F-6A87-33E7-97D5-239DF416A6A3}"/>
          </ac:spMkLst>
        </pc:spChg>
      </pc:sldChg>
      <pc:sldChg chg="addSp delSp modSp mod">
        <pc:chgData name="HADHRI Moncef" userId="895ef482-96ff-4dd4-9c74-0dc92131d96c" providerId="ADAL" clId="{D2744BEB-55AD-403F-A1DB-30834BC0E3AC}" dt="2023-06-29T14:14:06.498" v="111" actId="478"/>
        <pc:sldMkLst>
          <pc:docMk/>
          <pc:sldMk cId="3458925768" sldId="543"/>
        </pc:sldMkLst>
        <pc:spChg chg="add del mod">
          <ac:chgData name="HADHRI Moncef" userId="895ef482-96ff-4dd4-9c74-0dc92131d96c" providerId="ADAL" clId="{D2744BEB-55AD-403F-A1DB-30834BC0E3AC}" dt="2023-06-29T14:14:06.498" v="111" actId="478"/>
          <ac:spMkLst>
            <pc:docMk/>
            <pc:sldMk cId="3458925768" sldId="543"/>
            <ac:spMk id="3" creationId="{5AA1846D-CC00-8EF7-4C54-6373EEA133A7}"/>
          </ac:spMkLst>
        </pc:spChg>
      </pc:sldChg>
      <pc:sldChg chg="add">
        <pc:chgData name="HADHRI Moncef" userId="895ef482-96ff-4dd4-9c74-0dc92131d96c" providerId="ADAL" clId="{D2744BEB-55AD-403F-A1DB-30834BC0E3AC}" dt="2023-09-08T08:18:38.088" v="198"/>
        <pc:sldMkLst>
          <pc:docMk/>
          <pc:sldMk cId="2066674344" sldId="2134805399"/>
        </pc:sldMkLst>
      </pc:sldChg>
      <pc:sldChg chg="addSp modSp del mod">
        <pc:chgData name="HADHRI Moncef" userId="895ef482-96ff-4dd4-9c74-0dc92131d96c" providerId="ADAL" clId="{D2744BEB-55AD-403F-A1DB-30834BC0E3AC}" dt="2023-09-08T08:18:31.112" v="197" actId="2696"/>
        <pc:sldMkLst>
          <pc:docMk/>
          <pc:sldMk cId="2491726269" sldId="2134805399"/>
        </pc:sldMkLst>
        <pc:spChg chg="add mod">
          <ac:chgData name="HADHRI Moncef" userId="895ef482-96ff-4dd4-9c74-0dc92131d96c" providerId="ADAL" clId="{D2744BEB-55AD-403F-A1DB-30834BC0E3AC}" dt="2023-09-08T08:18:26.777" v="196" actId="20577"/>
          <ac:spMkLst>
            <pc:docMk/>
            <pc:sldMk cId="2491726269" sldId="2134805399"/>
            <ac:spMk id="4" creationId="{3B7D2476-06D5-2AF9-E01F-85B4727395A9}"/>
          </ac:spMkLst>
        </pc:spChg>
      </pc:sldChg>
      <pc:sldChg chg="addSp modSp">
        <pc:chgData name="HADHRI Moncef" userId="895ef482-96ff-4dd4-9c74-0dc92131d96c" providerId="ADAL" clId="{D2744BEB-55AD-403F-A1DB-30834BC0E3AC}" dt="2023-06-29T14:14:22.853" v="112"/>
        <pc:sldMkLst>
          <pc:docMk/>
          <pc:sldMk cId="2818283143" sldId="2134805402"/>
        </pc:sldMkLst>
        <pc:spChg chg="add mod">
          <ac:chgData name="HADHRI Moncef" userId="895ef482-96ff-4dd4-9c74-0dc92131d96c" providerId="ADAL" clId="{D2744BEB-55AD-403F-A1DB-30834BC0E3AC}" dt="2023-06-29T14:14:22.853" v="112"/>
          <ac:spMkLst>
            <pc:docMk/>
            <pc:sldMk cId="2818283143" sldId="2134805402"/>
            <ac:spMk id="3" creationId="{31B7AEAD-D6B4-052D-0C7C-D125DA370AC8}"/>
          </ac:spMkLst>
        </pc:spChg>
      </pc:sldChg>
      <pc:sldChg chg="addSp modSp">
        <pc:chgData name="HADHRI Moncef" userId="895ef482-96ff-4dd4-9c74-0dc92131d96c" providerId="ADAL" clId="{D2744BEB-55AD-403F-A1DB-30834BC0E3AC}" dt="2023-06-29T14:14:24.840" v="113"/>
        <pc:sldMkLst>
          <pc:docMk/>
          <pc:sldMk cId="2844338126" sldId="2134805403"/>
        </pc:sldMkLst>
        <pc:spChg chg="add mod">
          <ac:chgData name="HADHRI Moncef" userId="895ef482-96ff-4dd4-9c74-0dc92131d96c" providerId="ADAL" clId="{D2744BEB-55AD-403F-A1DB-30834BC0E3AC}" dt="2023-06-29T14:14:24.840" v="113"/>
          <ac:spMkLst>
            <pc:docMk/>
            <pc:sldMk cId="2844338126" sldId="2134805403"/>
            <ac:spMk id="3" creationId="{667ED9DC-734A-0FBF-96A9-B373C9F85D7C}"/>
          </ac:spMkLst>
        </pc:spChg>
      </pc:sldChg>
    </pc:docChg>
  </pc:docChgLst>
  <pc:docChgLst>
    <pc:chgData name="HADHRI Moncef" userId="895ef482-96ff-4dd4-9c74-0dc92131d96c" providerId="ADAL" clId="{F11B17EA-5B55-40F5-B7B2-2B6278F1A95C}"/>
    <pc:docChg chg="undo custSel modSld">
      <pc:chgData name="HADHRI Moncef" userId="895ef482-96ff-4dd4-9c74-0dc92131d96c" providerId="ADAL" clId="{F11B17EA-5B55-40F5-B7B2-2B6278F1A95C}" dt="2022-12-12T14:48:26.795" v="220" actId="1076"/>
      <pc:docMkLst>
        <pc:docMk/>
      </pc:docMkLst>
      <pc:sldChg chg="delSp modSp mod">
        <pc:chgData name="HADHRI Moncef" userId="895ef482-96ff-4dd4-9c74-0dc92131d96c" providerId="ADAL" clId="{F11B17EA-5B55-40F5-B7B2-2B6278F1A95C}" dt="2022-12-01T12:43:31.408" v="95" actId="20577"/>
        <pc:sldMkLst>
          <pc:docMk/>
          <pc:sldMk cId="687316141" sldId="375"/>
        </pc:sldMkLst>
        <pc:spChg chg="mod">
          <ac:chgData name="HADHRI Moncef" userId="895ef482-96ff-4dd4-9c74-0dc92131d96c" providerId="ADAL" clId="{F11B17EA-5B55-40F5-B7B2-2B6278F1A95C}" dt="2022-12-01T12:04:28.732" v="14" actId="1076"/>
          <ac:spMkLst>
            <pc:docMk/>
            <pc:sldMk cId="687316141" sldId="375"/>
            <ac:spMk id="2" creationId="{593C9C63-B991-6374-5370-2CF306A8AD08}"/>
          </ac:spMkLst>
        </pc:spChg>
        <pc:spChg chg="mod">
          <ac:chgData name="HADHRI Moncef" userId="895ef482-96ff-4dd4-9c74-0dc92131d96c" providerId="ADAL" clId="{F11B17EA-5B55-40F5-B7B2-2B6278F1A95C}" dt="2022-12-01T11:55:55.126" v="9" actId="1076"/>
          <ac:spMkLst>
            <pc:docMk/>
            <pc:sldMk cId="687316141" sldId="375"/>
            <ac:spMk id="6" creationId="{149E2B99-3B82-161A-43F8-DF88C7C63E76}"/>
          </ac:spMkLst>
        </pc:spChg>
        <pc:spChg chg="mod">
          <ac:chgData name="HADHRI Moncef" userId="895ef482-96ff-4dd4-9c74-0dc92131d96c" providerId="ADAL" clId="{F11B17EA-5B55-40F5-B7B2-2B6278F1A95C}" dt="2022-12-01T12:43:31.408" v="95" actId="20577"/>
          <ac:spMkLst>
            <pc:docMk/>
            <pc:sldMk cId="687316141" sldId="375"/>
            <ac:spMk id="7" creationId="{00000000-0000-0000-0000-000000000000}"/>
          </ac:spMkLst>
        </pc:spChg>
        <pc:picChg chg="del mod">
          <ac:chgData name="HADHRI Moncef" userId="895ef482-96ff-4dd4-9c74-0dc92131d96c" providerId="ADAL" clId="{F11B17EA-5B55-40F5-B7B2-2B6278F1A95C}" dt="2022-12-01T11:55:52.626" v="8" actId="478"/>
          <ac:picMkLst>
            <pc:docMk/>
            <pc:sldMk cId="687316141" sldId="375"/>
            <ac:picMk id="3" creationId="{9581B523-BED6-125B-97A1-58F60E4CC97A}"/>
          </ac:picMkLst>
        </pc:picChg>
        <pc:picChg chg="del">
          <ac:chgData name="HADHRI Moncef" userId="895ef482-96ff-4dd4-9c74-0dc92131d96c" providerId="ADAL" clId="{F11B17EA-5B55-40F5-B7B2-2B6278F1A95C}" dt="2022-12-01T11:50:37.690" v="0" actId="478"/>
          <ac:picMkLst>
            <pc:docMk/>
            <pc:sldMk cId="687316141" sldId="375"/>
            <ac:picMk id="4" creationId="{844C7EBB-4F55-48E1-ABD4-9BB82A59D471}"/>
          </ac:picMkLst>
        </pc:picChg>
        <pc:picChg chg="del mod">
          <ac:chgData name="HADHRI Moncef" userId="895ef482-96ff-4dd4-9c74-0dc92131d96c" providerId="ADAL" clId="{F11B17EA-5B55-40F5-B7B2-2B6278F1A95C}" dt="2022-12-01T12:01:16.214" v="13" actId="478"/>
          <ac:picMkLst>
            <pc:docMk/>
            <pc:sldMk cId="687316141" sldId="375"/>
            <ac:picMk id="5" creationId="{53D138E3-AB12-69EA-1D41-6889CD73E308}"/>
          </ac:picMkLst>
        </pc:picChg>
      </pc:sldChg>
      <pc:sldChg chg="delSp modSp mod">
        <pc:chgData name="HADHRI Moncef" userId="895ef482-96ff-4dd4-9c74-0dc92131d96c" providerId="ADAL" clId="{F11B17EA-5B55-40F5-B7B2-2B6278F1A95C}" dt="2022-12-01T12:44:57.428" v="171" actId="1076"/>
        <pc:sldMkLst>
          <pc:docMk/>
          <pc:sldMk cId="3203527764" sldId="378"/>
        </pc:sldMkLst>
        <pc:spChg chg="mod">
          <ac:chgData name="HADHRI Moncef" userId="895ef482-96ff-4dd4-9c74-0dc92131d96c" providerId="ADAL" clId="{F11B17EA-5B55-40F5-B7B2-2B6278F1A95C}" dt="2022-12-01T12:44:57.428" v="171" actId="1076"/>
          <ac:spMkLst>
            <pc:docMk/>
            <pc:sldMk cId="3203527764" sldId="378"/>
            <ac:spMk id="2" creationId="{335E7395-9B9D-3A6E-8359-F6F2CB0E96DC}"/>
          </ac:spMkLst>
        </pc:spChg>
        <pc:spChg chg="mod">
          <ac:chgData name="HADHRI Moncef" userId="895ef482-96ff-4dd4-9c74-0dc92131d96c" providerId="ADAL" clId="{F11B17EA-5B55-40F5-B7B2-2B6278F1A95C}" dt="2022-12-01T12:44:54.964" v="170" actId="14100"/>
          <ac:spMkLst>
            <pc:docMk/>
            <pc:sldMk cId="3203527764" sldId="378"/>
            <ac:spMk id="7" creationId="{00000000-0000-0000-0000-000000000000}"/>
          </ac:spMkLst>
        </pc:spChg>
        <pc:picChg chg="del">
          <ac:chgData name="HADHRI Moncef" userId="895ef482-96ff-4dd4-9c74-0dc92131d96c" providerId="ADAL" clId="{F11B17EA-5B55-40F5-B7B2-2B6278F1A95C}" dt="2022-12-01T12:32:46.153" v="15" actId="478"/>
          <ac:picMkLst>
            <pc:docMk/>
            <pc:sldMk cId="3203527764" sldId="378"/>
            <ac:picMk id="4" creationId="{8B9AA2DC-B820-49CE-8CC2-2A301B5940FB}"/>
          </ac:picMkLst>
        </pc:picChg>
        <pc:picChg chg="mod">
          <ac:chgData name="HADHRI Moncef" userId="895ef482-96ff-4dd4-9c74-0dc92131d96c" providerId="ADAL" clId="{F11B17EA-5B55-40F5-B7B2-2B6278F1A95C}" dt="2022-12-01T12:32:55.246" v="16" actId="1076"/>
          <ac:picMkLst>
            <pc:docMk/>
            <pc:sldMk cId="3203527764" sldId="378"/>
            <ac:picMk id="5" creationId="{1591718D-14D1-5E3B-0C3E-861EE698EBE0}"/>
          </ac:picMkLst>
        </pc:picChg>
      </pc:sldChg>
      <pc:sldChg chg="delSp modSp mod">
        <pc:chgData name="HADHRI Moncef" userId="895ef482-96ff-4dd4-9c74-0dc92131d96c" providerId="ADAL" clId="{F11B17EA-5B55-40F5-B7B2-2B6278F1A95C}" dt="2022-12-12T14:33:23.093" v="214" actId="1076"/>
        <pc:sldMkLst>
          <pc:docMk/>
          <pc:sldMk cId="1067430973" sldId="415"/>
        </pc:sldMkLst>
        <pc:picChg chg="del">
          <ac:chgData name="HADHRI Moncef" userId="895ef482-96ff-4dd4-9c74-0dc92131d96c" providerId="ADAL" clId="{F11B17EA-5B55-40F5-B7B2-2B6278F1A95C}" dt="2022-12-12T14:33:14.161" v="212" actId="478"/>
          <ac:picMkLst>
            <pc:docMk/>
            <pc:sldMk cId="1067430973" sldId="415"/>
            <ac:picMk id="3" creationId="{C2A1703B-0200-4BF5-8DD0-4D9839C00E3C}"/>
          </ac:picMkLst>
        </pc:picChg>
        <pc:picChg chg="mod">
          <ac:chgData name="HADHRI Moncef" userId="895ef482-96ff-4dd4-9c74-0dc92131d96c" providerId="ADAL" clId="{F11B17EA-5B55-40F5-B7B2-2B6278F1A95C}" dt="2022-12-12T14:33:23.093" v="214" actId="1076"/>
          <ac:picMkLst>
            <pc:docMk/>
            <pc:sldMk cId="1067430973" sldId="415"/>
            <ac:picMk id="5" creationId="{0EADCA81-FCE1-7D32-1320-BF6F39EE1A66}"/>
          </ac:picMkLst>
        </pc:picChg>
      </pc:sldChg>
      <pc:sldChg chg="delSp modSp mod">
        <pc:chgData name="HADHRI Moncef" userId="895ef482-96ff-4dd4-9c74-0dc92131d96c" providerId="ADAL" clId="{F11B17EA-5B55-40F5-B7B2-2B6278F1A95C}" dt="2022-12-06T15:40:07.259" v="185" actId="1076"/>
        <pc:sldMkLst>
          <pc:docMk/>
          <pc:sldMk cId="1348273151" sldId="432"/>
        </pc:sldMkLst>
        <pc:picChg chg="del">
          <ac:chgData name="HADHRI Moncef" userId="895ef482-96ff-4dd4-9c74-0dc92131d96c" providerId="ADAL" clId="{F11B17EA-5B55-40F5-B7B2-2B6278F1A95C}" dt="2022-12-06T15:39:57.095" v="181" actId="478"/>
          <ac:picMkLst>
            <pc:docMk/>
            <pc:sldMk cId="1348273151" sldId="432"/>
            <ac:picMk id="3" creationId="{754C9ED3-AA25-6825-6B73-B2D773D520CA}"/>
          </ac:picMkLst>
        </pc:picChg>
        <pc:picChg chg="mod">
          <ac:chgData name="HADHRI Moncef" userId="895ef482-96ff-4dd4-9c74-0dc92131d96c" providerId="ADAL" clId="{F11B17EA-5B55-40F5-B7B2-2B6278F1A95C}" dt="2022-12-06T15:40:07.259" v="185" actId="1076"/>
          <ac:picMkLst>
            <pc:docMk/>
            <pc:sldMk cId="1348273151" sldId="432"/>
            <ac:picMk id="6" creationId="{78067DD2-35B7-C5EA-4B1B-CEB5966E27DC}"/>
          </ac:picMkLst>
        </pc:picChg>
      </pc:sldChg>
      <pc:sldChg chg="delSp modSp mod">
        <pc:chgData name="HADHRI Moncef" userId="895ef482-96ff-4dd4-9c74-0dc92131d96c" providerId="ADAL" clId="{F11B17EA-5B55-40F5-B7B2-2B6278F1A95C}" dt="2022-12-12T10:03:49.505" v="201" actId="1076"/>
        <pc:sldMkLst>
          <pc:docMk/>
          <pc:sldMk cId="2264595889" sldId="478"/>
        </pc:sldMkLst>
        <pc:picChg chg="mod">
          <ac:chgData name="HADHRI Moncef" userId="895ef482-96ff-4dd4-9c74-0dc92131d96c" providerId="ADAL" clId="{F11B17EA-5B55-40F5-B7B2-2B6278F1A95C}" dt="2022-12-12T10:03:49.505" v="201" actId="1076"/>
          <ac:picMkLst>
            <pc:docMk/>
            <pc:sldMk cId="2264595889" sldId="478"/>
            <ac:picMk id="4" creationId="{43CF5A05-78FD-2D49-0011-28FACFAC5054}"/>
          </ac:picMkLst>
        </pc:picChg>
        <pc:picChg chg="del">
          <ac:chgData name="HADHRI Moncef" userId="895ef482-96ff-4dd4-9c74-0dc92131d96c" providerId="ADAL" clId="{F11B17EA-5B55-40F5-B7B2-2B6278F1A95C}" dt="2022-12-12T10:03:34.239" v="198" actId="478"/>
          <ac:picMkLst>
            <pc:docMk/>
            <pc:sldMk cId="2264595889" sldId="478"/>
            <ac:picMk id="5" creationId="{E4E48DEE-8CA7-47AE-BC0A-C32E8B225375}"/>
          </ac:picMkLst>
        </pc:picChg>
      </pc:sldChg>
      <pc:sldChg chg="delSp modSp mod">
        <pc:chgData name="HADHRI Moncef" userId="895ef482-96ff-4dd4-9c74-0dc92131d96c" providerId="ADAL" clId="{F11B17EA-5B55-40F5-B7B2-2B6278F1A95C}" dt="2022-12-12T10:30:59.479" v="208" actId="1076"/>
        <pc:sldMkLst>
          <pc:docMk/>
          <pc:sldMk cId="1623204966" sldId="481"/>
        </pc:sldMkLst>
        <pc:picChg chg="mod">
          <ac:chgData name="HADHRI Moncef" userId="895ef482-96ff-4dd4-9c74-0dc92131d96c" providerId="ADAL" clId="{F11B17EA-5B55-40F5-B7B2-2B6278F1A95C}" dt="2022-12-12T10:30:59.479" v="208" actId="1076"/>
          <ac:picMkLst>
            <pc:docMk/>
            <pc:sldMk cId="1623204966" sldId="481"/>
            <ac:picMk id="4" creationId="{0C704033-E281-5D55-D212-2465DBD16A7E}"/>
          </ac:picMkLst>
        </pc:picChg>
        <pc:picChg chg="del">
          <ac:chgData name="HADHRI Moncef" userId="895ef482-96ff-4dd4-9c74-0dc92131d96c" providerId="ADAL" clId="{F11B17EA-5B55-40F5-B7B2-2B6278F1A95C}" dt="2022-12-12T10:30:49.732" v="207" actId="478"/>
          <ac:picMkLst>
            <pc:docMk/>
            <pc:sldMk cId="1623204966" sldId="481"/>
            <ac:picMk id="8" creationId="{17EFFFB5-D36C-48A5-8F76-523C3119FBFE}"/>
          </ac:picMkLst>
        </pc:picChg>
      </pc:sldChg>
      <pc:sldChg chg="delSp modSp mod">
        <pc:chgData name="HADHRI Moncef" userId="895ef482-96ff-4dd4-9c74-0dc92131d96c" providerId="ADAL" clId="{F11B17EA-5B55-40F5-B7B2-2B6278F1A95C}" dt="2022-12-12T09:05:59.840" v="192" actId="1076"/>
        <pc:sldMkLst>
          <pc:docMk/>
          <pc:sldMk cId="3050253954" sldId="483"/>
        </pc:sldMkLst>
        <pc:picChg chg="mod">
          <ac:chgData name="HADHRI Moncef" userId="895ef482-96ff-4dd4-9c74-0dc92131d96c" providerId="ADAL" clId="{F11B17EA-5B55-40F5-B7B2-2B6278F1A95C}" dt="2022-12-12T09:05:59.840" v="192" actId="1076"/>
          <ac:picMkLst>
            <pc:docMk/>
            <pc:sldMk cId="3050253954" sldId="483"/>
            <ac:picMk id="4" creationId="{D61FD8AD-2AD2-C969-7A13-671B9239377B}"/>
          </ac:picMkLst>
        </pc:picChg>
        <pc:picChg chg="del">
          <ac:chgData name="HADHRI Moncef" userId="895ef482-96ff-4dd4-9c74-0dc92131d96c" providerId="ADAL" clId="{F11B17EA-5B55-40F5-B7B2-2B6278F1A95C}" dt="2022-12-12T09:05:50.497" v="189" actId="478"/>
          <ac:picMkLst>
            <pc:docMk/>
            <pc:sldMk cId="3050253954" sldId="483"/>
            <ac:picMk id="7" creationId="{EC1C5415-5C1B-4844-BCFA-C9E3B3482952}"/>
          </ac:picMkLst>
        </pc:picChg>
      </pc:sldChg>
      <pc:sldChg chg="delSp modSp mod">
        <pc:chgData name="HADHRI Moncef" userId="895ef482-96ff-4dd4-9c74-0dc92131d96c" providerId="ADAL" clId="{F11B17EA-5B55-40F5-B7B2-2B6278F1A95C}" dt="2022-12-01T11:51:18.370" v="7" actId="1076"/>
        <pc:sldMkLst>
          <pc:docMk/>
          <pc:sldMk cId="3842426781" sldId="498"/>
        </pc:sldMkLst>
        <pc:picChg chg="del">
          <ac:chgData name="HADHRI Moncef" userId="895ef482-96ff-4dd4-9c74-0dc92131d96c" providerId="ADAL" clId="{F11B17EA-5B55-40F5-B7B2-2B6278F1A95C}" dt="2022-12-01T11:50:52.521" v="3" actId="478"/>
          <ac:picMkLst>
            <pc:docMk/>
            <pc:sldMk cId="3842426781" sldId="498"/>
            <ac:picMk id="5" creationId="{F7A16B5B-B2A3-4476-8F29-39CB8C5CA8CC}"/>
          </ac:picMkLst>
        </pc:picChg>
        <pc:picChg chg="mod">
          <ac:chgData name="HADHRI Moncef" userId="895ef482-96ff-4dd4-9c74-0dc92131d96c" providerId="ADAL" clId="{F11B17EA-5B55-40F5-B7B2-2B6278F1A95C}" dt="2022-12-01T11:51:18.370" v="7" actId="1076"/>
          <ac:picMkLst>
            <pc:docMk/>
            <pc:sldMk cId="3842426781" sldId="498"/>
            <ac:picMk id="6" creationId="{4528FAB9-E975-6744-C5CE-FC01BF4DA8E2}"/>
          </ac:picMkLst>
        </pc:picChg>
      </pc:sldChg>
      <pc:sldChg chg="delSp modSp mod">
        <pc:chgData name="HADHRI Moncef" userId="895ef482-96ff-4dd4-9c74-0dc92131d96c" providerId="ADAL" clId="{F11B17EA-5B55-40F5-B7B2-2B6278F1A95C}" dt="2022-12-12T08:18:35.441" v="188" actId="1076"/>
        <pc:sldMkLst>
          <pc:docMk/>
          <pc:sldMk cId="3132958973" sldId="502"/>
        </pc:sldMkLst>
        <pc:picChg chg="mod">
          <ac:chgData name="HADHRI Moncef" userId="895ef482-96ff-4dd4-9c74-0dc92131d96c" providerId="ADAL" clId="{F11B17EA-5B55-40F5-B7B2-2B6278F1A95C}" dt="2022-12-12T08:18:35.441" v="188" actId="1076"/>
          <ac:picMkLst>
            <pc:docMk/>
            <pc:sldMk cId="3132958973" sldId="502"/>
            <ac:picMk id="5" creationId="{CB2F48BA-4E9E-1623-F546-FA03E9FDB6AB}"/>
          </ac:picMkLst>
        </pc:picChg>
        <pc:picChg chg="del">
          <ac:chgData name="HADHRI Moncef" userId="895ef482-96ff-4dd4-9c74-0dc92131d96c" providerId="ADAL" clId="{F11B17EA-5B55-40F5-B7B2-2B6278F1A95C}" dt="2022-12-12T08:18:25.405" v="186" actId="478"/>
          <ac:picMkLst>
            <pc:docMk/>
            <pc:sldMk cId="3132958973" sldId="502"/>
            <ac:picMk id="14" creationId="{604D266C-8D18-40F0-8F95-DB416522EC9E}"/>
          </ac:picMkLst>
        </pc:picChg>
      </pc:sldChg>
      <pc:sldChg chg="delSp mod">
        <pc:chgData name="HADHRI Moncef" userId="895ef482-96ff-4dd4-9c74-0dc92131d96c" providerId="ADAL" clId="{F11B17EA-5B55-40F5-B7B2-2B6278F1A95C}" dt="2022-12-01T13:54:07.608" v="177" actId="478"/>
        <pc:sldMkLst>
          <pc:docMk/>
          <pc:sldMk cId="4181001190" sldId="506"/>
        </pc:sldMkLst>
        <pc:picChg chg="del">
          <ac:chgData name="HADHRI Moncef" userId="895ef482-96ff-4dd4-9c74-0dc92131d96c" providerId="ADAL" clId="{F11B17EA-5B55-40F5-B7B2-2B6278F1A95C}" dt="2022-12-01T13:54:07.608" v="177" actId="478"/>
          <ac:picMkLst>
            <pc:docMk/>
            <pc:sldMk cId="4181001190" sldId="506"/>
            <ac:picMk id="6" creationId="{7CEAD57C-99D4-4EB8-98CF-2C882575D0CD}"/>
          </ac:picMkLst>
        </pc:picChg>
      </pc:sldChg>
      <pc:sldChg chg="delSp modSp mod">
        <pc:chgData name="HADHRI Moncef" userId="895ef482-96ff-4dd4-9c74-0dc92131d96c" providerId="ADAL" clId="{F11B17EA-5B55-40F5-B7B2-2B6278F1A95C}" dt="2022-12-12T14:29:23.958" v="211" actId="14100"/>
        <pc:sldMkLst>
          <pc:docMk/>
          <pc:sldMk cId="1376106718" sldId="511"/>
        </pc:sldMkLst>
        <pc:picChg chg="del">
          <ac:chgData name="HADHRI Moncef" userId="895ef482-96ff-4dd4-9c74-0dc92131d96c" providerId="ADAL" clId="{F11B17EA-5B55-40F5-B7B2-2B6278F1A95C}" dt="2022-12-12T14:29:15.655" v="209" actId="478"/>
          <ac:picMkLst>
            <pc:docMk/>
            <pc:sldMk cId="1376106718" sldId="511"/>
            <ac:picMk id="4" creationId="{796B0C28-6CC1-4155-8C17-7D70D1940D58}"/>
          </ac:picMkLst>
        </pc:picChg>
        <pc:picChg chg="mod">
          <ac:chgData name="HADHRI Moncef" userId="895ef482-96ff-4dd4-9c74-0dc92131d96c" providerId="ADAL" clId="{F11B17EA-5B55-40F5-B7B2-2B6278F1A95C}" dt="2022-12-12T14:29:23.958" v="211" actId="14100"/>
          <ac:picMkLst>
            <pc:docMk/>
            <pc:sldMk cId="1376106718" sldId="511"/>
            <ac:picMk id="5" creationId="{659363F1-6477-EEB7-A930-FBA5D0E7DC2B}"/>
          </ac:picMkLst>
        </pc:picChg>
      </pc:sldChg>
      <pc:sldChg chg="delSp modSp mod">
        <pc:chgData name="HADHRI Moncef" userId="895ef482-96ff-4dd4-9c74-0dc92131d96c" providerId="ADAL" clId="{F11B17EA-5B55-40F5-B7B2-2B6278F1A95C}" dt="2022-12-06T14:29:41.783" v="180" actId="1076"/>
        <pc:sldMkLst>
          <pc:docMk/>
          <pc:sldMk cId="1410458262" sldId="517"/>
        </pc:sldMkLst>
        <pc:picChg chg="del">
          <ac:chgData name="HADHRI Moncef" userId="895ef482-96ff-4dd4-9c74-0dc92131d96c" providerId="ADAL" clId="{F11B17EA-5B55-40F5-B7B2-2B6278F1A95C}" dt="2022-12-06T14:29:30.772" v="178" actId="478"/>
          <ac:picMkLst>
            <pc:docMk/>
            <pc:sldMk cId="1410458262" sldId="517"/>
            <ac:picMk id="4" creationId="{21BE62CC-3396-2157-C2A7-883D27A735B4}"/>
          </ac:picMkLst>
        </pc:picChg>
        <pc:picChg chg="mod">
          <ac:chgData name="HADHRI Moncef" userId="895ef482-96ff-4dd4-9c74-0dc92131d96c" providerId="ADAL" clId="{F11B17EA-5B55-40F5-B7B2-2B6278F1A95C}" dt="2022-12-06T14:29:41.783" v="180" actId="1076"/>
          <ac:picMkLst>
            <pc:docMk/>
            <pc:sldMk cId="1410458262" sldId="517"/>
            <ac:picMk id="6" creationId="{2CB37E01-0658-CEB5-ABF1-0DC0C0F6D728}"/>
          </ac:picMkLst>
        </pc:picChg>
      </pc:sldChg>
      <pc:sldChg chg="delSp modSp mod">
        <pc:chgData name="HADHRI Moncef" userId="895ef482-96ff-4dd4-9c74-0dc92131d96c" providerId="ADAL" clId="{F11B17EA-5B55-40F5-B7B2-2B6278F1A95C}" dt="2022-12-01T13:52:59.709" v="176" actId="1076"/>
        <pc:sldMkLst>
          <pc:docMk/>
          <pc:sldMk cId="3652464793" sldId="524"/>
        </pc:sldMkLst>
        <pc:picChg chg="del">
          <ac:chgData name="HADHRI Moncef" userId="895ef482-96ff-4dd4-9c74-0dc92131d96c" providerId="ADAL" clId="{F11B17EA-5B55-40F5-B7B2-2B6278F1A95C}" dt="2022-12-01T13:52:50.098" v="175" actId="478"/>
          <ac:picMkLst>
            <pc:docMk/>
            <pc:sldMk cId="3652464793" sldId="524"/>
            <ac:picMk id="4" creationId="{68F25E83-C73D-4083-91E3-C1899AED7B52}"/>
          </ac:picMkLst>
        </pc:picChg>
        <pc:picChg chg="mod">
          <ac:chgData name="HADHRI Moncef" userId="895ef482-96ff-4dd4-9c74-0dc92131d96c" providerId="ADAL" clId="{F11B17EA-5B55-40F5-B7B2-2B6278F1A95C}" dt="2022-12-01T13:52:59.709" v="176" actId="1076"/>
          <ac:picMkLst>
            <pc:docMk/>
            <pc:sldMk cId="3652464793" sldId="524"/>
            <ac:picMk id="5" creationId="{B3B3FAF4-014D-5B64-69A3-2712327BC185}"/>
          </ac:picMkLst>
        </pc:picChg>
      </pc:sldChg>
      <pc:sldChg chg="delSp modSp mod">
        <pc:chgData name="HADHRI Moncef" userId="895ef482-96ff-4dd4-9c74-0dc92131d96c" providerId="ADAL" clId="{F11B17EA-5B55-40F5-B7B2-2B6278F1A95C}" dt="2022-12-01T13:15:11.276" v="174" actId="1076"/>
        <pc:sldMkLst>
          <pc:docMk/>
          <pc:sldMk cId="1797321108" sldId="525"/>
        </pc:sldMkLst>
        <pc:picChg chg="del">
          <ac:chgData name="HADHRI Moncef" userId="895ef482-96ff-4dd4-9c74-0dc92131d96c" providerId="ADAL" clId="{F11B17EA-5B55-40F5-B7B2-2B6278F1A95C}" dt="2022-12-01T13:15:02.922" v="172" actId="478"/>
          <ac:picMkLst>
            <pc:docMk/>
            <pc:sldMk cId="1797321108" sldId="525"/>
            <ac:picMk id="4" creationId="{769868C9-E6C1-4BE7-988F-9B8C6DF21339}"/>
          </ac:picMkLst>
        </pc:picChg>
        <pc:picChg chg="mod">
          <ac:chgData name="HADHRI Moncef" userId="895ef482-96ff-4dd4-9c74-0dc92131d96c" providerId="ADAL" clId="{F11B17EA-5B55-40F5-B7B2-2B6278F1A95C}" dt="2022-12-01T13:15:11.276" v="174" actId="1076"/>
          <ac:picMkLst>
            <pc:docMk/>
            <pc:sldMk cId="1797321108" sldId="525"/>
            <ac:picMk id="5" creationId="{3A709329-2D85-8FA4-C9BE-6B161CF28AA2}"/>
          </ac:picMkLst>
        </pc:picChg>
      </pc:sldChg>
      <pc:sldChg chg="delSp modSp mod">
        <pc:chgData name="HADHRI Moncef" userId="895ef482-96ff-4dd4-9c74-0dc92131d96c" providerId="ADAL" clId="{F11B17EA-5B55-40F5-B7B2-2B6278F1A95C}" dt="2022-12-12T14:48:26.795" v="220" actId="1076"/>
        <pc:sldMkLst>
          <pc:docMk/>
          <pc:sldMk cId="399590516" sldId="531"/>
        </pc:sldMkLst>
        <pc:picChg chg="del">
          <ac:chgData name="HADHRI Moncef" userId="895ef482-96ff-4dd4-9c74-0dc92131d96c" providerId="ADAL" clId="{F11B17EA-5B55-40F5-B7B2-2B6278F1A95C}" dt="2022-12-12T14:48:15.178" v="218" actId="478"/>
          <ac:picMkLst>
            <pc:docMk/>
            <pc:sldMk cId="399590516" sldId="531"/>
            <ac:picMk id="4" creationId="{F3C32F52-24B1-4218-89A1-81E0F3717C19}"/>
          </ac:picMkLst>
        </pc:picChg>
        <pc:picChg chg="mod">
          <ac:chgData name="HADHRI Moncef" userId="895ef482-96ff-4dd4-9c74-0dc92131d96c" providerId="ADAL" clId="{F11B17EA-5B55-40F5-B7B2-2B6278F1A95C}" dt="2022-12-12T14:48:26.795" v="220" actId="1076"/>
          <ac:picMkLst>
            <pc:docMk/>
            <pc:sldMk cId="399590516" sldId="531"/>
            <ac:picMk id="5" creationId="{D9822E4F-C939-A1DD-B71C-7F6F897B08B8}"/>
          </ac:picMkLst>
        </pc:picChg>
      </pc:sldChg>
      <pc:sldChg chg="delSp modSp mod">
        <pc:chgData name="HADHRI Moncef" userId="895ef482-96ff-4dd4-9c74-0dc92131d96c" providerId="ADAL" clId="{F11B17EA-5B55-40F5-B7B2-2B6278F1A95C}" dt="2022-12-12T14:43:25.917" v="217" actId="1076"/>
        <pc:sldMkLst>
          <pc:docMk/>
          <pc:sldMk cId="1113706935" sldId="532"/>
        </pc:sldMkLst>
        <pc:picChg chg="del">
          <ac:chgData name="HADHRI Moncef" userId="895ef482-96ff-4dd4-9c74-0dc92131d96c" providerId="ADAL" clId="{F11B17EA-5B55-40F5-B7B2-2B6278F1A95C}" dt="2022-12-12T14:43:16.882" v="215" actId="478"/>
          <ac:picMkLst>
            <pc:docMk/>
            <pc:sldMk cId="1113706935" sldId="532"/>
            <ac:picMk id="4" creationId="{2FABBED8-3F63-4592-B410-5AF3762516A0}"/>
          </ac:picMkLst>
        </pc:picChg>
        <pc:picChg chg="mod">
          <ac:chgData name="HADHRI Moncef" userId="895ef482-96ff-4dd4-9c74-0dc92131d96c" providerId="ADAL" clId="{F11B17EA-5B55-40F5-B7B2-2B6278F1A95C}" dt="2022-12-12T14:43:25.917" v="217" actId="1076"/>
          <ac:picMkLst>
            <pc:docMk/>
            <pc:sldMk cId="1113706935" sldId="532"/>
            <ac:picMk id="5" creationId="{FAD043B5-6E01-68FB-9D83-9387F93425B1}"/>
          </ac:picMkLst>
        </pc:picChg>
      </pc:sldChg>
      <pc:sldChg chg="delSp modSp mod">
        <pc:chgData name="HADHRI Moncef" userId="895ef482-96ff-4dd4-9c74-0dc92131d96c" providerId="ADAL" clId="{F11B17EA-5B55-40F5-B7B2-2B6278F1A95C}" dt="2022-12-12T09:26:47.921" v="197" actId="1076"/>
        <pc:sldMkLst>
          <pc:docMk/>
          <pc:sldMk cId="4234730277" sldId="538"/>
        </pc:sldMkLst>
        <pc:picChg chg="mod">
          <ac:chgData name="HADHRI Moncef" userId="895ef482-96ff-4dd4-9c74-0dc92131d96c" providerId="ADAL" clId="{F11B17EA-5B55-40F5-B7B2-2B6278F1A95C}" dt="2022-12-12T09:26:47.921" v="197" actId="1076"/>
          <ac:picMkLst>
            <pc:docMk/>
            <pc:sldMk cId="4234730277" sldId="538"/>
            <ac:picMk id="5" creationId="{D3757171-1B63-7435-985F-0847B956BB6F}"/>
          </ac:picMkLst>
        </pc:picChg>
        <pc:picChg chg="del">
          <ac:chgData name="HADHRI Moncef" userId="895ef482-96ff-4dd4-9c74-0dc92131d96c" providerId="ADAL" clId="{F11B17EA-5B55-40F5-B7B2-2B6278F1A95C}" dt="2022-12-12T09:26:35.959" v="193" actId="478"/>
          <ac:picMkLst>
            <pc:docMk/>
            <pc:sldMk cId="4234730277" sldId="538"/>
            <ac:picMk id="6" creationId="{AFD8358A-56C8-4BFF-A0F7-9F72AE32413A}"/>
          </ac:picMkLst>
        </pc:picChg>
      </pc:sldChg>
      <pc:sldChg chg="delSp modSp mod">
        <pc:chgData name="HADHRI Moncef" userId="895ef482-96ff-4dd4-9c74-0dc92131d96c" providerId="ADAL" clId="{F11B17EA-5B55-40F5-B7B2-2B6278F1A95C}" dt="2022-12-12T10:06:01.378" v="206" actId="1076"/>
        <pc:sldMkLst>
          <pc:docMk/>
          <pc:sldMk cId="4125945156" sldId="539"/>
        </pc:sldMkLst>
        <pc:picChg chg="mod">
          <ac:chgData name="HADHRI Moncef" userId="895ef482-96ff-4dd4-9c74-0dc92131d96c" providerId="ADAL" clId="{F11B17EA-5B55-40F5-B7B2-2B6278F1A95C}" dt="2022-12-12T10:06:01.378" v="206" actId="1076"/>
          <ac:picMkLst>
            <pc:docMk/>
            <pc:sldMk cId="4125945156" sldId="539"/>
            <ac:picMk id="5" creationId="{FB5C8A9E-4B85-D604-1B1E-B1DEDED733FB}"/>
          </ac:picMkLst>
        </pc:picChg>
        <pc:picChg chg="del">
          <ac:chgData name="HADHRI Moncef" userId="895ef482-96ff-4dd4-9c74-0dc92131d96c" providerId="ADAL" clId="{F11B17EA-5B55-40F5-B7B2-2B6278F1A95C}" dt="2022-12-12T10:05:49.829" v="202" actId="478"/>
          <ac:picMkLst>
            <pc:docMk/>
            <pc:sldMk cId="4125945156" sldId="539"/>
            <ac:picMk id="8" creationId="{67591960-5814-46E7-B002-6E14757BB9E8}"/>
          </ac:picMkLst>
        </pc:picChg>
      </pc:sldChg>
    </pc:docChg>
  </pc:docChgLst>
  <pc:docChgLst>
    <pc:chgData name="HADHRI Moncef" userId="895ef482-96ff-4dd4-9c74-0dc92131d96c" providerId="ADAL" clId="{A8C564F2-344E-466C-8CAB-C56DBFCE9D39}"/>
    <pc:docChg chg="custSel delSld modSld">
      <pc:chgData name="HADHRI Moncef" userId="895ef482-96ff-4dd4-9c74-0dc92131d96c" providerId="ADAL" clId="{A8C564F2-344E-466C-8CAB-C56DBFCE9D39}" dt="2023-11-27T14:54:29.837" v="547" actId="20577"/>
      <pc:docMkLst>
        <pc:docMk/>
      </pc:docMkLst>
      <pc:sldChg chg="addSp delSp modSp mod">
        <pc:chgData name="HADHRI Moncef" userId="895ef482-96ff-4dd4-9c74-0dc92131d96c" providerId="ADAL" clId="{A8C564F2-344E-466C-8CAB-C56DBFCE9D39}" dt="2023-11-27T14:13:15.224" v="383" actId="20577"/>
        <pc:sldMkLst>
          <pc:docMk/>
          <pc:sldMk cId="3683067118" sldId="318"/>
        </pc:sldMkLst>
        <pc:spChg chg="del">
          <ac:chgData name="HADHRI Moncef" userId="895ef482-96ff-4dd4-9c74-0dc92131d96c" providerId="ADAL" clId="{A8C564F2-344E-466C-8CAB-C56DBFCE9D39}" dt="2023-11-27T13:38:02.775" v="49" actId="478"/>
          <ac:spMkLst>
            <pc:docMk/>
            <pc:sldMk cId="3683067118" sldId="318"/>
            <ac:spMk id="2" creationId="{A038971C-F48B-5B42-9097-11C5AFB76766}"/>
          </ac:spMkLst>
        </pc:spChg>
        <pc:spChg chg="mod">
          <ac:chgData name="HADHRI Moncef" userId="895ef482-96ff-4dd4-9c74-0dc92131d96c" providerId="ADAL" clId="{A8C564F2-344E-466C-8CAB-C56DBFCE9D39}" dt="2023-11-27T14:13:15.224" v="383" actId="20577"/>
          <ac:spMkLst>
            <pc:docMk/>
            <pc:sldMk cId="3683067118" sldId="318"/>
            <ac:spMk id="7" creationId="{00000000-0000-0000-0000-000000000000}"/>
          </ac:spMkLst>
        </pc:spChg>
        <pc:picChg chg="add mod">
          <ac:chgData name="HADHRI Moncef" userId="895ef482-96ff-4dd4-9c74-0dc92131d96c" providerId="ADAL" clId="{A8C564F2-344E-466C-8CAB-C56DBFCE9D39}" dt="2023-11-27T13:38:09.805" v="52" actId="1076"/>
          <ac:picMkLst>
            <pc:docMk/>
            <pc:sldMk cId="3683067118" sldId="318"/>
            <ac:picMk id="4" creationId="{491273BF-963A-481C-C619-6277E93A2A9D}"/>
          </ac:picMkLst>
        </pc:picChg>
        <pc:picChg chg="del">
          <ac:chgData name="HADHRI Moncef" userId="895ef482-96ff-4dd4-9c74-0dc92131d96c" providerId="ADAL" clId="{A8C564F2-344E-466C-8CAB-C56DBFCE9D39}" dt="2023-11-27T13:38:01.573" v="48" actId="478"/>
          <ac:picMkLst>
            <pc:docMk/>
            <pc:sldMk cId="3683067118" sldId="318"/>
            <ac:picMk id="11" creationId="{CFAE1FEC-377B-4D19-1707-42042D476077}"/>
          </ac:picMkLst>
        </pc:picChg>
      </pc:sldChg>
      <pc:sldChg chg="modSp mod">
        <pc:chgData name="HADHRI Moncef" userId="895ef482-96ff-4dd4-9c74-0dc92131d96c" providerId="ADAL" clId="{A8C564F2-344E-466C-8CAB-C56DBFCE9D39}" dt="2023-11-27T14:08:21.506" v="328" actId="20577"/>
        <pc:sldMkLst>
          <pc:docMk/>
          <pc:sldMk cId="435617243" sldId="371"/>
        </pc:sldMkLst>
        <pc:spChg chg="mod">
          <ac:chgData name="HADHRI Moncef" userId="895ef482-96ff-4dd4-9c74-0dc92131d96c" providerId="ADAL" clId="{A8C564F2-344E-466C-8CAB-C56DBFCE9D39}" dt="2023-11-27T14:08:21.506" v="328" actId="20577"/>
          <ac:spMkLst>
            <pc:docMk/>
            <pc:sldMk cId="435617243" sldId="371"/>
            <ac:spMk id="2" creationId="{177418E4-1C13-4BA5-9F99-F8304D2A21D2}"/>
          </ac:spMkLst>
        </pc:spChg>
        <pc:spChg chg="mod">
          <ac:chgData name="HADHRI Moncef" userId="895ef482-96ff-4dd4-9c74-0dc92131d96c" providerId="ADAL" clId="{A8C564F2-344E-466C-8CAB-C56DBFCE9D39}" dt="2023-11-27T13:32:13.047" v="11" actId="20577"/>
          <ac:spMkLst>
            <pc:docMk/>
            <pc:sldMk cId="435617243" sldId="371"/>
            <ac:spMk id="7" creationId="{66FB7B9E-1E0F-534F-9A68-2F855FF12DFE}"/>
          </ac:spMkLst>
        </pc:spChg>
      </pc:sldChg>
      <pc:sldChg chg="modSp mod">
        <pc:chgData name="HADHRI Moncef" userId="895ef482-96ff-4dd4-9c74-0dc92131d96c" providerId="ADAL" clId="{A8C564F2-344E-466C-8CAB-C56DBFCE9D39}" dt="2023-11-27T14:54:29.837" v="547" actId="20577"/>
        <pc:sldMkLst>
          <pc:docMk/>
          <pc:sldMk cId="1920272730" sldId="372"/>
        </pc:sldMkLst>
        <pc:spChg chg="mod">
          <ac:chgData name="HADHRI Moncef" userId="895ef482-96ff-4dd4-9c74-0dc92131d96c" providerId="ADAL" clId="{A8C564F2-344E-466C-8CAB-C56DBFCE9D39}" dt="2023-11-27T14:54:29.837" v="547" actId="20577"/>
          <ac:spMkLst>
            <pc:docMk/>
            <pc:sldMk cId="1920272730" sldId="372"/>
            <ac:spMk id="5" creationId="{300EFDE8-6590-45AD-A3CC-F166D832B8DE}"/>
          </ac:spMkLst>
        </pc:spChg>
      </pc:sldChg>
      <pc:sldChg chg="addSp delSp modSp mod">
        <pc:chgData name="HADHRI Moncef" userId="895ef482-96ff-4dd4-9c74-0dc92131d96c" providerId="ADAL" clId="{A8C564F2-344E-466C-8CAB-C56DBFCE9D39}" dt="2023-11-27T14:17:28.207" v="445" actId="1076"/>
        <pc:sldMkLst>
          <pc:docMk/>
          <pc:sldMk cId="687316141" sldId="375"/>
        </pc:sldMkLst>
        <pc:spChg chg="del mod">
          <ac:chgData name="HADHRI Moncef" userId="895ef482-96ff-4dd4-9c74-0dc92131d96c" providerId="ADAL" clId="{A8C564F2-344E-466C-8CAB-C56DBFCE9D39}" dt="2023-11-27T13:41:35.833" v="90" actId="478"/>
          <ac:spMkLst>
            <pc:docMk/>
            <pc:sldMk cId="687316141" sldId="375"/>
            <ac:spMk id="3" creationId="{41DEBFBD-2CDE-2E2A-6A43-7975461A50A6}"/>
          </ac:spMkLst>
        </pc:spChg>
        <pc:spChg chg="mod">
          <ac:chgData name="HADHRI Moncef" userId="895ef482-96ff-4dd4-9c74-0dc92131d96c" providerId="ADAL" clId="{A8C564F2-344E-466C-8CAB-C56DBFCE9D39}" dt="2023-11-27T14:17:25.187" v="444" actId="20577"/>
          <ac:spMkLst>
            <pc:docMk/>
            <pc:sldMk cId="687316141" sldId="375"/>
            <ac:spMk id="7" creationId="{00000000-0000-0000-0000-000000000000}"/>
          </ac:spMkLst>
        </pc:spChg>
        <pc:picChg chg="del">
          <ac:chgData name="HADHRI Moncef" userId="895ef482-96ff-4dd4-9c74-0dc92131d96c" providerId="ADAL" clId="{A8C564F2-344E-466C-8CAB-C56DBFCE9D39}" dt="2023-11-27T13:41:33.179" v="89" actId="478"/>
          <ac:picMkLst>
            <pc:docMk/>
            <pc:sldMk cId="687316141" sldId="375"/>
            <ac:picMk id="2" creationId="{2973AD24-FADA-0925-CED1-44E4C7E11282}"/>
          </ac:picMkLst>
        </pc:picChg>
        <pc:picChg chg="add mod">
          <ac:chgData name="HADHRI Moncef" userId="895ef482-96ff-4dd4-9c74-0dc92131d96c" providerId="ADAL" clId="{A8C564F2-344E-466C-8CAB-C56DBFCE9D39}" dt="2023-11-27T14:17:28.207" v="445" actId="1076"/>
          <ac:picMkLst>
            <pc:docMk/>
            <pc:sldMk cId="687316141" sldId="375"/>
            <ac:picMk id="5" creationId="{F43052D6-7DA0-68BA-D971-736E4510DC22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21:23.191" v="471" actId="20577"/>
        <pc:sldMkLst>
          <pc:docMk/>
          <pc:sldMk cId="3203527764" sldId="378"/>
        </pc:sldMkLst>
        <pc:spChg chg="del">
          <ac:chgData name="HADHRI Moncef" userId="895ef482-96ff-4dd4-9c74-0dc92131d96c" providerId="ADAL" clId="{A8C564F2-344E-466C-8CAB-C56DBFCE9D39}" dt="2023-11-27T13:43:11.374" v="119" actId="478"/>
          <ac:spMkLst>
            <pc:docMk/>
            <pc:sldMk cId="3203527764" sldId="378"/>
            <ac:spMk id="2" creationId="{8080E06A-5BA8-D408-B78B-6577B15234CB}"/>
          </ac:spMkLst>
        </pc:spChg>
        <pc:spChg chg="mod">
          <ac:chgData name="HADHRI Moncef" userId="895ef482-96ff-4dd4-9c74-0dc92131d96c" providerId="ADAL" clId="{A8C564F2-344E-466C-8CAB-C56DBFCE9D39}" dt="2023-11-27T14:21:23.191" v="471" actId="20577"/>
          <ac:spMkLst>
            <pc:docMk/>
            <pc:sldMk cId="3203527764" sldId="378"/>
            <ac:spMk id="7" creationId="{00000000-0000-0000-0000-000000000000}"/>
          </ac:spMkLst>
        </pc:spChg>
        <pc:picChg chg="add mod">
          <ac:chgData name="HADHRI Moncef" userId="895ef482-96ff-4dd4-9c74-0dc92131d96c" providerId="ADAL" clId="{A8C564F2-344E-466C-8CAB-C56DBFCE9D39}" dt="2023-11-27T13:43:33.846" v="124" actId="14100"/>
          <ac:picMkLst>
            <pc:docMk/>
            <pc:sldMk cId="3203527764" sldId="378"/>
            <ac:picMk id="4" creationId="{8348FEA2-0CCC-0B56-A64D-FEC362150F22}"/>
          </ac:picMkLst>
        </pc:picChg>
        <pc:picChg chg="del">
          <ac:chgData name="HADHRI Moncef" userId="895ef482-96ff-4dd4-9c74-0dc92131d96c" providerId="ADAL" clId="{A8C564F2-344E-466C-8CAB-C56DBFCE9D39}" dt="2023-11-27T13:43:11.758" v="120" actId="478"/>
          <ac:picMkLst>
            <pc:docMk/>
            <pc:sldMk cId="3203527764" sldId="378"/>
            <ac:picMk id="6" creationId="{F6E55A3E-4520-37F9-704A-71B043D871AD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49:05.119" v="533" actId="20577"/>
        <pc:sldMkLst>
          <pc:docMk/>
          <pc:sldMk cId="3833533132" sldId="403"/>
        </pc:sldMkLst>
        <pc:spChg chg="del">
          <ac:chgData name="HADHRI Moncef" userId="895ef482-96ff-4dd4-9c74-0dc92131d96c" providerId="ADAL" clId="{A8C564F2-344E-466C-8CAB-C56DBFCE9D39}" dt="2023-11-27T13:49:48.567" v="180" actId="478"/>
          <ac:spMkLst>
            <pc:docMk/>
            <pc:sldMk cId="3833533132" sldId="403"/>
            <ac:spMk id="2" creationId="{3080A3CE-48B5-3408-A76C-1D05882D07ED}"/>
          </ac:spMkLst>
        </pc:spChg>
        <pc:spChg chg="mod">
          <ac:chgData name="HADHRI Moncef" userId="895ef482-96ff-4dd4-9c74-0dc92131d96c" providerId="ADAL" clId="{A8C564F2-344E-466C-8CAB-C56DBFCE9D39}" dt="2023-11-27T14:49:05.119" v="533" actId="20577"/>
          <ac:spMkLst>
            <pc:docMk/>
            <pc:sldMk cId="3833533132" sldId="403"/>
            <ac:spMk id="7" creationId="{00000000-0000-0000-0000-000000000000}"/>
          </ac:spMkLst>
        </pc:spChg>
        <pc:picChg chg="add mod">
          <ac:chgData name="HADHRI Moncef" userId="895ef482-96ff-4dd4-9c74-0dc92131d96c" providerId="ADAL" clId="{A8C564F2-344E-466C-8CAB-C56DBFCE9D39}" dt="2023-11-27T13:50:05.096" v="187" actId="1076"/>
          <ac:picMkLst>
            <pc:docMk/>
            <pc:sldMk cId="3833533132" sldId="403"/>
            <ac:picMk id="4" creationId="{E8C03BB7-3AA9-2601-346E-3BE39E6E7228}"/>
          </ac:picMkLst>
        </pc:picChg>
        <pc:picChg chg="del">
          <ac:chgData name="HADHRI Moncef" userId="895ef482-96ff-4dd4-9c74-0dc92131d96c" providerId="ADAL" clId="{A8C564F2-344E-466C-8CAB-C56DBFCE9D39}" dt="2023-11-27T13:49:49.231" v="181" actId="478"/>
          <ac:picMkLst>
            <pc:docMk/>
            <pc:sldMk cId="3833533132" sldId="403"/>
            <ac:picMk id="8" creationId="{B208ACA1-F2FB-9688-78C3-C919E0288063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3:12.526" v="208" actId="1076"/>
        <pc:sldMkLst>
          <pc:docMk/>
          <pc:sldMk cId="3416576635" sldId="406"/>
        </pc:sldMkLst>
        <pc:spChg chg="del">
          <ac:chgData name="HADHRI Moncef" userId="895ef482-96ff-4dd4-9c74-0dc92131d96c" providerId="ADAL" clId="{A8C564F2-344E-466C-8CAB-C56DBFCE9D39}" dt="2023-11-27T13:53:05.206" v="206" actId="478"/>
          <ac:spMkLst>
            <pc:docMk/>
            <pc:sldMk cId="3416576635" sldId="406"/>
            <ac:spMk id="3" creationId="{60D14175-F01A-1543-C583-4EF2839736C3}"/>
          </ac:spMkLst>
        </pc:spChg>
        <pc:picChg chg="del">
          <ac:chgData name="HADHRI Moncef" userId="895ef482-96ff-4dd4-9c74-0dc92131d96c" providerId="ADAL" clId="{A8C564F2-344E-466C-8CAB-C56DBFCE9D39}" dt="2023-11-27T13:53:04.045" v="205" actId="478"/>
          <ac:picMkLst>
            <pc:docMk/>
            <pc:sldMk cId="3416576635" sldId="406"/>
            <ac:picMk id="4" creationId="{64DDA4C6-B688-5236-BDA5-902DF4844A1A}"/>
          </ac:picMkLst>
        </pc:picChg>
        <pc:picChg chg="add mod">
          <ac:chgData name="HADHRI Moncef" userId="895ef482-96ff-4dd4-9c74-0dc92131d96c" providerId="ADAL" clId="{A8C564F2-344E-466C-8CAB-C56DBFCE9D39}" dt="2023-11-27T13:53:12.526" v="208" actId="1076"/>
          <ac:picMkLst>
            <pc:docMk/>
            <pc:sldMk cId="3416576635" sldId="406"/>
            <ac:picMk id="6" creationId="{0EDB0CC7-9FBA-DF7E-DB88-7144573E2D7B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8:10.876" v="245" actId="1076"/>
        <pc:sldMkLst>
          <pc:docMk/>
          <pc:sldMk cId="1697530786" sldId="407"/>
        </pc:sldMkLst>
        <pc:spChg chg="del mod">
          <ac:chgData name="HADHRI Moncef" userId="895ef482-96ff-4dd4-9c74-0dc92131d96c" providerId="ADAL" clId="{A8C564F2-344E-466C-8CAB-C56DBFCE9D39}" dt="2023-11-27T13:53:54.672" v="211" actId="478"/>
          <ac:spMkLst>
            <pc:docMk/>
            <pc:sldMk cId="1697530786" sldId="407"/>
            <ac:spMk id="3" creationId="{241892EF-310F-3E16-39B2-0F437E47F78F}"/>
          </ac:spMkLst>
        </pc:spChg>
        <pc:picChg chg="add del mod">
          <ac:chgData name="HADHRI Moncef" userId="895ef482-96ff-4dd4-9c74-0dc92131d96c" providerId="ADAL" clId="{A8C564F2-344E-466C-8CAB-C56DBFCE9D39}" dt="2023-11-27T13:58:01.917" v="243" actId="478"/>
          <ac:picMkLst>
            <pc:docMk/>
            <pc:sldMk cId="1697530786" sldId="407"/>
            <ac:picMk id="5" creationId="{63CC65C1-06B9-F4B7-6BCC-00A8356B3209}"/>
          </ac:picMkLst>
        </pc:picChg>
        <pc:picChg chg="del">
          <ac:chgData name="HADHRI Moncef" userId="895ef482-96ff-4dd4-9c74-0dc92131d96c" providerId="ADAL" clId="{A8C564F2-344E-466C-8CAB-C56DBFCE9D39}" dt="2023-11-27T13:53:47.904" v="209" actId="478"/>
          <ac:picMkLst>
            <pc:docMk/>
            <pc:sldMk cId="1697530786" sldId="407"/>
            <ac:picMk id="7" creationId="{E8EB504E-375F-56C6-B1C3-6E72249C7729}"/>
          </ac:picMkLst>
        </pc:picChg>
        <pc:picChg chg="add mod">
          <ac:chgData name="HADHRI Moncef" userId="895ef482-96ff-4dd4-9c74-0dc92131d96c" providerId="ADAL" clId="{A8C564F2-344E-466C-8CAB-C56DBFCE9D39}" dt="2023-11-27T13:58:10.876" v="245" actId="1076"/>
          <ac:picMkLst>
            <pc:docMk/>
            <pc:sldMk cId="1697530786" sldId="407"/>
            <ac:picMk id="8" creationId="{D121CEB2-7037-EDC6-1928-7FF59416B0C7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4:42.247" v="219" actId="1076"/>
        <pc:sldMkLst>
          <pc:docMk/>
          <pc:sldMk cId="3455755029" sldId="408"/>
        </pc:sldMkLst>
        <pc:spChg chg="del">
          <ac:chgData name="HADHRI Moncef" userId="895ef482-96ff-4dd4-9c74-0dc92131d96c" providerId="ADAL" clId="{A8C564F2-344E-466C-8CAB-C56DBFCE9D39}" dt="2023-11-27T13:54:11.023" v="214" actId="478"/>
          <ac:spMkLst>
            <pc:docMk/>
            <pc:sldMk cId="3455755029" sldId="408"/>
            <ac:spMk id="3" creationId="{332219FD-E449-A198-BD8E-4E6AD745314B}"/>
          </ac:spMkLst>
        </pc:spChg>
        <pc:picChg chg="add mod">
          <ac:chgData name="HADHRI Moncef" userId="895ef482-96ff-4dd4-9c74-0dc92131d96c" providerId="ADAL" clId="{A8C564F2-344E-466C-8CAB-C56DBFCE9D39}" dt="2023-11-27T13:54:42.247" v="219" actId="1076"/>
          <ac:picMkLst>
            <pc:docMk/>
            <pc:sldMk cId="3455755029" sldId="408"/>
            <ac:picMk id="5" creationId="{81C1DAA5-5403-C191-85A1-C0691F275CBE}"/>
          </ac:picMkLst>
        </pc:picChg>
        <pc:picChg chg="del">
          <ac:chgData name="HADHRI Moncef" userId="895ef482-96ff-4dd4-9c74-0dc92131d96c" providerId="ADAL" clId="{A8C564F2-344E-466C-8CAB-C56DBFCE9D39}" dt="2023-11-27T13:54:33.045" v="215" actId="478"/>
          <ac:picMkLst>
            <pc:docMk/>
            <pc:sldMk cId="3455755029" sldId="408"/>
            <ac:picMk id="7" creationId="{77E189AD-071D-85A0-59E7-37FD4958736D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5:43.737" v="225" actId="1076"/>
        <pc:sldMkLst>
          <pc:docMk/>
          <pc:sldMk cId="1207978756" sldId="410"/>
        </pc:sldMkLst>
        <pc:spChg chg="del">
          <ac:chgData name="HADHRI Moncef" userId="895ef482-96ff-4dd4-9c74-0dc92131d96c" providerId="ADAL" clId="{A8C564F2-344E-466C-8CAB-C56DBFCE9D39}" dt="2023-11-27T13:55:07.776" v="221" actId="478"/>
          <ac:spMkLst>
            <pc:docMk/>
            <pc:sldMk cId="1207978756" sldId="410"/>
            <ac:spMk id="3" creationId="{73EF6E9B-6AF1-49BA-CE4F-63BC09AD2A56}"/>
          </ac:spMkLst>
        </pc:spChg>
        <pc:picChg chg="add del">
          <ac:chgData name="HADHRI Moncef" userId="895ef482-96ff-4dd4-9c74-0dc92131d96c" providerId="ADAL" clId="{A8C564F2-344E-466C-8CAB-C56DBFCE9D39}" dt="2023-11-27T13:55:35.214" v="223" actId="478"/>
          <ac:picMkLst>
            <pc:docMk/>
            <pc:sldMk cId="1207978756" sldId="410"/>
            <ac:picMk id="5" creationId="{D73A4A9D-57B2-1412-D29C-622563ABE732}"/>
          </ac:picMkLst>
        </pc:picChg>
        <pc:picChg chg="del">
          <ac:chgData name="HADHRI Moncef" userId="895ef482-96ff-4dd4-9c74-0dc92131d96c" providerId="ADAL" clId="{A8C564F2-344E-466C-8CAB-C56DBFCE9D39}" dt="2023-11-27T13:55:06.432" v="220" actId="478"/>
          <ac:picMkLst>
            <pc:docMk/>
            <pc:sldMk cId="1207978756" sldId="410"/>
            <ac:picMk id="7" creationId="{D0F34F37-B3A8-9EFE-C0AE-D9ECA18DBC1C}"/>
          </ac:picMkLst>
        </pc:picChg>
        <pc:picChg chg="add mod">
          <ac:chgData name="HADHRI Moncef" userId="895ef482-96ff-4dd4-9c74-0dc92131d96c" providerId="ADAL" clId="{A8C564F2-344E-466C-8CAB-C56DBFCE9D39}" dt="2023-11-27T13:55:43.737" v="225" actId="1076"/>
          <ac:picMkLst>
            <pc:docMk/>
            <pc:sldMk cId="1207978756" sldId="410"/>
            <ac:picMk id="8" creationId="{44F3F264-C082-0406-E9D7-7434CB3F8156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6:34.231" v="230" actId="1076"/>
        <pc:sldMkLst>
          <pc:docMk/>
          <pc:sldMk cId="398650412" sldId="411"/>
        </pc:sldMkLst>
        <pc:spChg chg="del">
          <ac:chgData name="HADHRI Moncef" userId="895ef482-96ff-4dd4-9c74-0dc92131d96c" providerId="ADAL" clId="{A8C564F2-344E-466C-8CAB-C56DBFCE9D39}" dt="2023-11-27T13:56:25.031" v="227" actId="478"/>
          <ac:spMkLst>
            <pc:docMk/>
            <pc:sldMk cId="398650412" sldId="411"/>
            <ac:spMk id="3" creationId="{9F8CBA15-3DBF-3BFC-618D-E29E617DF213}"/>
          </ac:spMkLst>
        </pc:spChg>
        <pc:picChg chg="add mod">
          <ac:chgData name="HADHRI Moncef" userId="895ef482-96ff-4dd4-9c74-0dc92131d96c" providerId="ADAL" clId="{A8C564F2-344E-466C-8CAB-C56DBFCE9D39}" dt="2023-11-27T13:56:34.231" v="230" actId="1076"/>
          <ac:picMkLst>
            <pc:docMk/>
            <pc:sldMk cId="398650412" sldId="411"/>
            <ac:picMk id="5" creationId="{3369F52B-C67B-7572-4296-4DE2E45B4D92}"/>
          </ac:picMkLst>
        </pc:picChg>
        <pc:picChg chg="del">
          <ac:chgData name="HADHRI Moncef" userId="895ef482-96ff-4dd4-9c74-0dc92131d96c" providerId="ADAL" clId="{A8C564F2-344E-466C-8CAB-C56DBFCE9D39}" dt="2023-11-27T13:56:22.825" v="226" actId="478"/>
          <ac:picMkLst>
            <pc:docMk/>
            <pc:sldMk cId="398650412" sldId="411"/>
            <ac:picMk id="7" creationId="{50B21CAD-B0E9-7949-4A48-BEEAFA7D4312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48:06.252" v="164" actId="14100"/>
        <pc:sldMkLst>
          <pc:docMk/>
          <pc:sldMk cId="1067430973" sldId="415"/>
        </pc:sldMkLst>
        <pc:spChg chg="del">
          <ac:chgData name="HADHRI Moncef" userId="895ef482-96ff-4dd4-9c74-0dc92131d96c" providerId="ADAL" clId="{A8C564F2-344E-466C-8CAB-C56DBFCE9D39}" dt="2023-11-27T13:47:18.208" v="153" actId="478"/>
          <ac:spMkLst>
            <pc:docMk/>
            <pc:sldMk cId="1067430973" sldId="415"/>
            <ac:spMk id="2" creationId="{A9C55450-2CDA-11DB-DC39-B61ED7DF618C}"/>
          </ac:spMkLst>
        </pc:spChg>
        <pc:picChg chg="del">
          <ac:chgData name="HADHRI Moncef" userId="895ef482-96ff-4dd4-9c74-0dc92131d96c" providerId="ADAL" clId="{A8C564F2-344E-466C-8CAB-C56DBFCE9D39}" dt="2023-11-27T13:47:18.729" v="154" actId="478"/>
          <ac:picMkLst>
            <pc:docMk/>
            <pc:sldMk cId="1067430973" sldId="415"/>
            <ac:picMk id="3" creationId="{60ECD3AA-04C8-26CF-48F7-5134DBADFCB5}"/>
          </ac:picMkLst>
        </pc:picChg>
        <pc:picChg chg="add del mod">
          <ac:chgData name="HADHRI Moncef" userId="895ef482-96ff-4dd4-9c74-0dc92131d96c" providerId="ADAL" clId="{A8C564F2-344E-466C-8CAB-C56DBFCE9D39}" dt="2023-11-27T13:47:54.814" v="160" actId="478"/>
          <ac:picMkLst>
            <pc:docMk/>
            <pc:sldMk cId="1067430973" sldId="415"/>
            <ac:picMk id="5" creationId="{269DC3D1-46D8-90EB-5EA9-51981FA373DB}"/>
          </ac:picMkLst>
        </pc:picChg>
        <pc:picChg chg="add mod">
          <ac:chgData name="HADHRI Moncef" userId="895ef482-96ff-4dd4-9c74-0dc92131d96c" providerId="ADAL" clId="{A8C564F2-344E-466C-8CAB-C56DBFCE9D39}" dt="2023-11-27T13:48:06.252" v="164" actId="14100"/>
          <ac:picMkLst>
            <pc:docMk/>
            <pc:sldMk cId="1067430973" sldId="415"/>
            <ac:picMk id="7" creationId="{F1260464-95BE-9B2E-E80C-AB175F252DBE}"/>
          </ac:picMkLst>
        </pc:picChg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3486425364" sldId="431"/>
        </pc:sldMkLst>
      </pc:sldChg>
      <pc:sldChg chg="addSp delSp modSp mod">
        <pc:chgData name="HADHRI Moncef" userId="895ef482-96ff-4dd4-9c74-0dc92131d96c" providerId="ADAL" clId="{A8C564F2-344E-466C-8CAB-C56DBFCE9D39}" dt="2023-11-27T14:42:45.677" v="523" actId="20577"/>
        <pc:sldMkLst>
          <pc:docMk/>
          <pc:sldMk cId="1348273151" sldId="432"/>
        </pc:sldMkLst>
        <pc:spChg chg="mod">
          <ac:chgData name="HADHRI Moncef" userId="895ef482-96ff-4dd4-9c74-0dc92131d96c" providerId="ADAL" clId="{A8C564F2-344E-466C-8CAB-C56DBFCE9D39}" dt="2023-11-27T14:42:45.677" v="523" actId="20577"/>
          <ac:spMkLst>
            <pc:docMk/>
            <pc:sldMk cId="1348273151" sldId="432"/>
            <ac:spMk id="2" creationId="{00000000-0000-0000-0000-000000000000}"/>
          </ac:spMkLst>
        </pc:spChg>
        <pc:spChg chg="del">
          <ac:chgData name="HADHRI Moncef" userId="895ef482-96ff-4dd4-9c74-0dc92131d96c" providerId="ADAL" clId="{A8C564F2-344E-466C-8CAB-C56DBFCE9D39}" dt="2023-11-27T14:06:56.756" v="322" actId="478"/>
          <ac:spMkLst>
            <pc:docMk/>
            <pc:sldMk cId="1348273151" sldId="432"/>
            <ac:spMk id="3" creationId="{5FAF8CF2-0089-4F1A-4848-D262AC419A45}"/>
          </ac:spMkLst>
        </pc:spChg>
        <pc:picChg chg="add mod">
          <ac:chgData name="HADHRI Moncef" userId="895ef482-96ff-4dd4-9c74-0dc92131d96c" providerId="ADAL" clId="{A8C564F2-344E-466C-8CAB-C56DBFCE9D39}" dt="2023-11-27T14:07:06.418" v="326" actId="1076"/>
          <ac:picMkLst>
            <pc:docMk/>
            <pc:sldMk cId="1348273151" sldId="432"/>
            <ac:picMk id="5" creationId="{39A2AE96-C948-8161-DEC2-F8F1902597AF}"/>
          </ac:picMkLst>
        </pc:picChg>
        <pc:picChg chg="del">
          <ac:chgData name="HADHRI Moncef" userId="895ef482-96ff-4dd4-9c74-0dc92131d96c" providerId="ADAL" clId="{A8C564F2-344E-466C-8CAB-C56DBFCE9D39}" dt="2023-11-27T14:06:55.497" v="321" actId="478"/>
          <ac:picMkLst>
            <pc:docMk/>
            <pc:sldMk cId="1348273151" sldId="432"/>
            <ac:picMk id="7" creationId="{4D166718-99B6-F42B-A019-0A7CA8235088}"/>
          </ac:picMkLst>
        </pc:picChg>
      </pc:sldChg>
      <pc:sldChg chg="delSp mod">
        <pc:chgData name="HADHRI Moncef" userId="895ef482-96ff-4dd4-9c74-0dc92131d96c" providerId="ADAL" clId="{A8C564F2-344E-466C-8CAB-C56DBFCE9D39}" dt="2023-11-27T13:48:53.992" v="176" actId="478"/>
        <pc:sldMkLst>
          <pc:docMk/>
          <pc:sldMk cId="4003818425" sldId="452"/>
        </pc:sldMkLst>
        <pc:spChg chg="del">
          <ac:chgData name="HADHRI Moncef" userId="895ef482-96ff-4dd4-9c74-0dc92131d96c" providerId="ADAL" clId="{A8C564F2-344E-466C-8CAB-C56DBFCE9D39}" dt="2023-11-27T13:48:53.992" v="176" actId="478"/>
          <ac:spMkLst>
            <pc:docMk/>
            <pc:sldMk cId="4003818425" sldId="452"/>
            <ac:spMk id="2" creationId="{647F95EC-25B0-44FF-ED8E-C04A0C3681C2}"/>
          </ac:spMkLst>
        </pc:spChg>
      </pc:sldChg>
      <pc:sldChg chg="delSp mod">
        <pc:chgData name="HADHRI Moncef" userId="895ef482-96ff-4dd4-9c74-0dc92131d96c" providerId="ADAL" clId="{A8C564F2-344E-466C-8CAB-C56DBFCE9D39}" dt="2023-11-27T13:48:58.975" v="178" actId="478"/>
        <pc:sldMkLst>
          <pc:docMk/>
          <pc:sldMk cId="2606274184" sldId="465"/>
        </pc:sldMkLst>
        <pc:spChg chg="del">
          <ac:chgData name="HADHRI Moncef" userId="895ef482-96ff-4dd4-9c74-0dc92131d96c" providerId="ADAL" clId="{A8C564F2-344E-466C-8CAB-C56DBFCE9D39}" dt="2023-11-27T13:48:58.975" v="178" actId="478"/>
          <ac:spMkLst>
            <pc:docMk/>
            <pc:sldMk cId="2606274184" sldId="465"/>
            <ac:spMk id="2" creationId="{EBCFFAA3-F1FB-71F7-5CC6-F34B0C74F8BD}"/>
          </ac:spMkLst>
        </pc:spChg>
      </pc:sldChg>
      <pc:sldChg chg="delSp mod">
        <pc:chgData name="HADHRI Moncef" userId="895ef482-96ff-4dd4-9c74-0dc92131d96c" providerId="ADAL" clId="{A8C564F2-344E-466C-8CAB-C56DBFCE9D39}" dt="2023-11-27T13:48:43.184" v="171" actId="478"/>
        <pc:sldMkLst>
          <pc:docMk/>
          <pc:sldMk cId="4223220080" sldId="473"/>
        </pc:sldMkLst>
        <pc:spChg chg="del">
          <ac:chgData name="HADHRI Moncef" userId="895ef482-96ff-4dd4-9c74-0dc92131d96c" providerId="ADAL" clId="{A8C564F2-344E-466C-8CAB-C56DBFCE9D39}" dt="2023-11-27T13:48:43.184" v="171" actId="478"/>
          <ac:spMkLst>
            <pc:docMk/>
            <pc:sldMk cId="4223220080" sldId="473"/>
            <ac:spMk id="2" creationId="{6CBD9161-D44E-043F-D5CC-A3ACD811B5C9}"/>
          </ac:spMkLst>
        </pc:spChg>
      </pc:sldChg>
      <pc:sldChg chg="delSp mod">
        <pc:chgData name="HADHRI Moncef" userId="895ef482-96ff-4dd4-9c74-0dc92131d96c" providerId="ADAL" clId="{A8C564F2-344E-466C-8CAB-C56DBFCE9D39}" dt="2023-11-27T13:48:46.367" v="173" actId="478"/>
        <pc:sldMkLst>
          <pc:docMk/>
          <pc:sldMk cId="696988029" sldId="474"/>
        </pc:sldMkLst>
        <pc:spChg chg="del">
          <ac:chgData name="HADHRI Moncef" userId="895ef482-96ff-4dd4-9c74-0dc92131d96c" providerId="ADAL" clId="{A8C564F2-344E-466C-8CAB-C56DBFCE9D39}" dt="2023-11-27T13:48:46.367" v="173" actId="478"/>
          <ac:spMkLst>
            <pc:docMk/>
            <pc:sldMk cId="696988029" sldId="474"/>
            <ac:spMk id="2" creationId="{49A910D0-A7FD-9B27-E38F-3F776020E1E1}"/>
          </ac:spMkLst>
        </pc:spChg>
      </pc:sldChg>
      <pc:sldChg chg="delSp mod">
        <pc:chgData name="HADHRI Moncef" userId="895ef482-96ff-4dd4-9c74-0dc92131d96c" providerId="ADAL" clId="{A8C564F2-344E-466C-8CAB-C56DBFCE9D39}" dt="2023-11-27T13:48:47.702" v="174" actId="478"/>
        <pc:sldMkLst>
          <pc:docMk/>
          <pc:sldMk cId="1483498060" sldId="475"/>
        </pc:sldMkLst>
        <pc:spChg chg="del">
          <ac:chgData name="HADHRI Moncef" userId="895ef482-96ff-4dd4-9c74-0dc92131d96c" providerId="ADAL" clId="{A8C564F2-344E-466C-8CAB-C56DBFCE9D39}" dt="2023-11-27T13:48:47.702" v="174" actId="478"/>
          <ac:spMkLst>
            <pc:docMk/>
            <pc:sldMk cId="1483498060" sldId="475"/>
            <ac:spMk id="2" creationId="{05A8E29E-AB9F-3CB5-FF4D-33EF94EF9437}"/>
          </ac:spMkLst>
        </pc:spChg>
      </pc:sldChg>
      <pc:sldChg chg="addSp delSp modSp mod">
        <pc:chgData name="HADHRI Moncef" userId="895ef482-96ff-4dd4-9c74-0dc92131d96c" providerId="ADAL" clId="{A8C564F2-344E-466C-8CAB-C56DBFCE9D39}" dt="2023-11-27T14:02:43.650" v="277" actId="1076"/>
        <pc:sldMkLst>
          <pc:docMk/>
          <pc:sldMk cId="2264595889" sldId="478"/>
        </pc:sldMkLst>
        <pc:spChg chg="del">
          <ac:chgData name="HADHRI Moncef" userId="895ef482-96ff-4dd4-9c74-0dc92131d96c" providerId="ADAL" clId="{A8C564F2-344E-466C-8CAB-C56DBFCE9D39}" dt="2023-11-27T14:02:22.998" v="273" actId="478"/>
          <ac:spMkLst>
            <pc:docMk/>
            <pc:sldMk cId="2264595889" sldId="478"/>
            <ac:spMk id="2" creationId="{B22AEA2A-F88B-BEC7-F9ED-DDB3F3781B68}"/>
          </ac:spMkLst>
        </pc:spChg>
        <pc:picChg chg="add mod">
          <ac:chgData name="HADHRI Moncef" userId="895ef482-96ff-4dd4-9c74-0dc92131d96c" providerId="ADAL" clId="{A8C564F2-344E-466C-8CAB-C56DBFCE9D39}" dt="2023-11-27T14:02:43.650" v="277" actId="1076"/>
          <ac:picMkLst>
            <pc:docMk/>
            <pc:sldMk cId="2264595889" sldId="478"/>
            <ac:picMk id="4" creationId="{2FD37CF3-EE59-70BD-3A27-877F0D99ED86}"/>
          </ac:picMkLst>
        </pc:picChg>
        <pc:picChg chg="del">
          <ac:chgData name="HADHRI Moncef" userId="895ef482-96ff-4dd4-9c74-0dc92131d96c" providerId="ADAL" clId="{A8C564F2-344E-466C-8CAB-C56DBFCE9D39}" dt="2023-11-27T14:02:21.651" v="272" actId="478"/>
          <ac:picMkLst>
            <pc:docMk/>
            <pc:sldMk cId="2264595889" sldId="478"/>
            <ac:picMk id="5" creationId="{4BB4E596-632F-6EA6-E721-34E32502080B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4:14.898" v="294" actId="1076"/>
        <pc:sldMkLst>
          <pc:docMk/>
          <pc:sldMk cId="1623204966" sldId="481"/>
        </pc:sldMkLst>
        <pc:spChg chg="del">
          <ac:chgData name="HADHRI Moncef" userId="895ef482-96ff-4dd4-9c74-0dc92131d96c" providerId="ADAL" clId="{A8C564F2-344E-466C-8CAB-C56DBFCE9D39}" dt="2023-11-27T14:04:04.178" v="289" actId="478"/>
          <ac:spMkLst>
            <pc:docMk/>
            <pc:sldMk cId="1623204966" sldId="481"/>
            <ac:spMk id="2" creationId="{8CBE0DBE-EEA5-6FA1-053E-720EFC8CA957}"/>
          </ac:spMkLst>
        </pc:spChg>
        <pc:picChg chg="add mod">
          <ac:chgData name="HADHRI Moncef" userId="895ef482-96ff-4dd4-9c74-0dc92131d96c" providerId="ADAL" clId="{A8C564F2-344E-466C-8CAB-C56DBFCE9D39}" dt="2023-11-27T14:04:14.898" v="294" actId="1076"/>
          <ac:picMkLst>
            <pc:docMk/>
            <pc:sldMk cId="1623204966" sldId="481"/>
            <ac:picMk id="4" creationId="{22412D37-094E-1408-F3DE-DC6DADF797DF}"/>
          </ac:picMkLst>
        </pc:picChg>
        <pc:picChg chg="del">
          <ac:chgData name="HADHRI Moncef" userId="895ef482-96ff-4dd4-9c74-0dc92131d96c" providerId="ADAL" clId="{A8C564F2-344E-466C-8CAB-C56DBFCE9D39}" dt="2023-11-27T14:04:02.924" v="288" actId="478"/>
          <ac:picMkLst>
            <pc:docMk/>
            <pc:sldMk cId="1623204966" sldId="481"/>
            <ac:picMk id="5" creationId="{6CF4C1AE-F6A7-5E6D-D632-3969D8C58491}"/>
          </ac:picMkLst>
        </pc:picChg>
      </pc:sldChg>
      <pc:sldChg chg="delSp mod">
        <pc:chgData name="HADHRI Moncef" userId="895ef482-96ff-4dd4-9c74-0dc92131d96c" providerId="ADAL" clId="{A8C564F2-344E-466C-8CAB-C56DBFCE9D39}" dt="2023-11-27T14:01:03.729" v="258" actId="478"/>
        <pc:sldMkLst>
          <pc:docMk/>
          <pc:sldMk cId="3050253954" sldId="483"/>
        </pc:sldMkLst>
        <pc:spChg chg="del">
          <ac:chgData name="HADHRI Moncef" userId="895ef482-96ff-4dd4-9c74-0dc92131d96c" providerId="ADAL" clId="{A8C564F2-344E-466C-8CAB-C56DBFCE9D39}" dt="2023-11-27T14:01:03.729" v="258" actId="478"/>
          <ac:spMkLst>
            <pc:docMk/>
            <pc:sldMk cId="3050253954" sldId="483"/>
            <ac:spMk id="3" creationId="{BC61CFC8-1019-31E9-514A-3FD9B24CCAFD}"/>
          </ac:spMkLst>
        </pc:spChg>
      </pc:sldChg>
      <pc:sldChg chg="addSp delSp modSp mod">
        <pc:chgData name="HADHRI Moncef" userId="895ef482-96ff-4dd4-9c74-0dc92131d96c" providerId="ADAL" clId="{A8C564F2-344E-466C-8CAB-C56DBFCE9D39}" dt="2023-11-27T14:16:39.776" v="443" actId="20577"/>
        <pc:sldMkLst>
          <pc:docMk/>
          <pc:sldMk cId="3842426781" sldId="498"/>
        </pc:sldMkLst>
        <pc:spChg chg="mod">
          <ac:chgData name="HADHRI Moncef" userId="895ef482-96ff-4dd4-9c74-0dc92131d96c" providerId="ADAL" clId="{A8C564F2-344E-466C-8CAB-C56DBFCE9D39}" dt="2023-11-27T14:16:39.776" v="443" actId="20577"/>
          <ac:spMkLst>
            <pc:docMk/>
            <pc:sldMk cId="3842426781" sldId="498"/>
            <ac:spMk id="2" creationId="{00000000-0000-0000-0000-000000000000}"/>
          </ac:spMkLst>
        </pc:spChg>
        <pc:spChg chg="del">
          <ac:chgData name="HADHRI Moncef" userId="895ef482-96ff-4dd4-9c74-0dc92131d96c" providerId="ADAL" clId="{A8C564F2-344E-466C-8CAB-C56DBFCE9D39}" dt="2023-11-27T13:40:44.591" v="84" actId="478"/>
          <ac:spMkLst>
            <pc:docMk/>
            <pc:sldMk cId="3842426781" sldId="498"/>
            <ac:spMk id="3" creationId="{9E07900A-A873-ED96-D249-6A426ADDC770}"/>
          </ac:spMkLst>
        </pc:spChg>
        <pc:picChg chg="del">
          <ac:chgData name="HADHRI Moncef" userId="895ef482-96ff-4dd4-9c74-0dc92131d96c" providerId="ADAL" clId="{A8C564F2-344E-466C-8CAB-C56DBFCE9D39}" dt="2023-11-27T13:40:43.464" v="83" actId="478"/>
          <ac:picMkLst>
            <pc:docMk/>
            <pc:sldMk cId="3842426781" sldId="498"/>
            <ac:picMk id="4" creationId="{7873F25C-C1BA-5A56-DCBA-5F12F244ED0E}"/>
          </ac:picMkLst>
        </pc:picChg>
        <pc:picChg chg="add mod">
          <ac:chgData name="HADHRI Moncef" userId="895ef482-96ff-4dd4-9c74-0dc92131d96c" providerId="ADAL" clId="{A8C564F2-344E-466C-8CAB-C56DBFCE9D39}" dt="2023-11-27T14:16:13.152" v="427" actId="1076"/>
          <ac:picMkLst>
            <pc:docMk/>
            <pc:sldMk cId="3842426781" sldId="498"/>
            <ac:picMk id="6" creationId="{F12E48D0-BF94-33EB-7345-A3E5CE01DABC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9:21.564" v="250" actId="1076"/>
        <pc:sldMkLst>
          <pc:docMk/>
          <pc:sldMk cId="3132958973" sldId="502"/>
        </pc:sldMkLst>
        <pc:spChg chg="del">
          <ac:chgData name="HADHRI Moncef" userId="895ef482-96ff-4dd4-9c74-0dc92131d96c" providerId="ADAL" clId="{A8C564F2-344E-466C-8CAB-C56DBFCE9D39}" dt="2023-11-27T13:59:10.653" v="247" actId="478"/>
          <ac:spMkLst>
            <pc:docMk/>
            <pc:sldMk cId="3132958973" sldId="502"/>
            <ac:spMk id="3" creationId="{9D64C102-E391-7620-5429-2A1A471E1459}"/>
          </ac:spMkLst>
        </pc:spChg>
        <pc:picChg chg="add mod">
          <ac:chgData name="HADHRI Moncef" userId="895ef482-96ff-4dd4-9c74-0dc92131d96c" providerId="ADAL" clId="{A8C564F2-344E-466C-8CAB-C56DBFCE9D39}" dt="2023-11-27T13:59:21.564" v="250" actId="1076"/>
          <ac:picMkLst>
            <pc:docMk/>
            <pc:sldMk cId="3132958973" sldId="502"/>
            <ac:picMk id="5" creationId="{195B6C48-AF89-079E-99AA-8E7F6D580C15}"/>
          </ac:picMkLst>
        </pc:picChg>
        <pc:picChg chg="del">
          <ac:chgData name="HADHRI Moncef" userId="895ef482-96ff-4dd4-9c74-0dc92131d96c" providerId="ADAL" clId="{A8C564F2-344E-466C-8CAB-C56DBFCE9D39}" dt="2023-11-27T13:59:09.548" v="246" actId="478"/>
          <ac:picMkLst>
            <pc:docMk/>
            <pc:sldMk cId="3132958973" sldId="502"/>
            <ac:picMk id="7" creationId="{8A2BA2B7-E575-2BFE-C4D3-8739A76D6E6F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37:16.461" v="41" actId="1076"/>
        <pc:sldMkLst>
          <pc:docMk/>
          <pc:sldMk cId="4181001190" sldId="506"/>
        </pc:sldMkLst>
        <pc:spChg chg="del">
          <ac:chgData name="HADHRI Moncef" userId="895ef482-96ff-4dd4-9c74-0dc92131d96c" providerId="ADAL" clId="{A8C564F2-344E-466C-8CAB-C56DBFCE9D39}" dt="2023-11-27T13:35:17.545" v="29" actId="478"/>
          <ac:spMkLst>
            <pc:docMk/>
            <pc:sldMk cId="4181001190" sldId="506"/>
            <ac:spMk id="2" creationId="{0509DDF9-C8D0-0745-7190-F9E9556809CE}"/>
          </ac:spMkLst>
        </pc:spChg>
        <pc:picChg chg="del">
          <ac:chgData name="HADHRI Moncef" userId="895ef482-96ff-4dd4-9c74-0dc92131d96c" providerId="ADAL" clId="{A8C564F2-344E-466C-8CAB-C56DBFCE9D39}" dt="2023-11-27T13:35:26.148" v="30" actId="478"/>
          <ac:picMkLst>
            <pc:docMk/>
            <pc:sldMk cId="4181001190" sldId="506"/>
            <ac:picMk id="3" creationId="{D0696CA7-528E-A8CB-5AE3-28762F1FEE71}"/>
          </ac:picMkLst>
        </pc:picChg>
        <pc:picChg chg="add del mod">
          <ac:chgData name="HADHRI Moncef" userId="895ef482-96ff-4dd4-9c74-0dc92131d96c" providerId="ADAL" clId="{A8C564F2-344E-466C-8CAB-C56DBFCE9D39}" dt="2023-11-27T13:37:05.690" v="36" actId="478"/>
          <ac:picMkLst>
            <pc:docMk/>
            <pc:sldMk cId="4181001190" sldId="506"/>
            <ac:picMk id="5" creationId="{E7C8F85A-4338-8053-9599-64DB1624401A}"/>
          </ac:picMkLst>
        </pc:picChg>
        <pc:picChg chg="add mod">
          <ac:chgData name="HADHRI Moncef" userId="895ef482-96ff-4dd4-9c74-0dc92131d96c" providerId="ADAL" clId="{A8C564F2-344E-466C-8CAB-C56DBFCE9D39}" dt="2023-11-27T13:37:16.461" v="41" actId="1076"/>
          <ac:picMkLst>
            <pc:docMk/>
            <pc:sldMk cId="4181001190" sldId="506"/>
            <ac:picMk id="8" creationId="{1AEA83F9-9CE2-320D-4A67-D0FBBD67D415}"/>
          </ac:picMkLst>
        </pc:picChg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3951615262" sldId="508"/>
        </pc:sldMkLst>
      </pc:sldChg>
      <pc:sldChg chg="addSp delSp modSp mod">
        <pc:chgData name="HADHRI Moncef" userId="895ef482-96ff-4dd4-9c74-0dc92131d96c" providerId="ADAL" clId="{A8C564F2-344E-466C-8CAB-C56DBFCE9D39}" dt="2023-11-27T14:47:56.262" v="526" actId="1076"/>
        <pc:sldMkLst>
          <pc:docMk/>
          <pc:sldMk cId="1376106718" sldId="511"/>
        </pc:sldMkLst>
        <pc:spChg chg="del">
          <ac:chgData name="HADHRI Moncef" userId="895ef482-96ff-4dd4-9c74-0dc92131d96c" providerId="ADAL" clId="{A8C564F2-344E-466C-8CAB-C56DBFCE9D39}" dt="2023-11-27T13:48:24.871" v="166" actId="478"/>
          <ac:spMkLst>
            <pc:docMk/>
            <pc:sldMk cId="1376106718" sldId="511"/>
            <ac:spMk id="2" creationId="{A0EFB820-FADE-104C-25CB-5B8D4B145076}"/>
          </ac:spMkLst>
        </pc:spChg>
        <pc:picChg chg="add mod">
          <ac:chgData name="HADHRI Moncef" userId="895ef482-96ff-4dd4-9c74-0dc92131d96c" providerId="ADAL" clId="{A8C564F2-344E-466C-8CAB-C56DBFCE9D39}" dt="2023-11-27T14:47:56.262" v="526" actId="1076"/>
          <ac:picMkLst>
            <pc:docMk/>
            <pc:sldMk cId="1376106718" sldId="511"/>
            <ac:picMk id="4" creationId="{0B220EB5-F86F-307E-7CA3-7C90A65702B8}"/>
          </ac:picMkLst>
        </pc:picChg>
        <pc:picChg chg="del">
          <ac:chgData name="HADHRI Moncef" userId="895ef482-96ff-4dd4-9c74-0dc92131d96c" providerId="ADAL" clId="{A8C564F2-344E-466C-8CAB-C56DBFCE9D39}" dt="2023-11-27T13:48:23.318" v="165" actId="478"/>
          <ac:picMkLst>
            <pc:docMk/>
            <pc:sldMk cId="1376106718" sldId="511"/>
            <ac:picMk id="6" creationId="{4165D49C-0AE2-CBAB-8B09-9AD53B7F9DA8}"/>
          </ac:picMkLst>
        </pc:picChg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1361385511" sldId="514"/>
        </pc:sldMkLst>
      </pc:sldChg>
      <pc:sldChg chg="addSp delSp modSp mod">
        <pc:chgData name="HADHRI Moncef" userId="895ef482-96ff-4dd4-9c74-0dc92131d96c" providerId="ADAL" clId="{A8C564F2-344E-466C-8CAB-C56DBFCE9D39}" dt="2023-11-27T13:57:05.605" v="236" actId="14100"/>
        <pc:sldMkLst>
          <pc:docMk/>
          <pc:sldMk cId="4037864099" sldId="516"/>
        </pc:sldMkLst>
        <pc:spChg chg="del">
          <ac:chgData name="HADHRI Moncef" userId="895ef482-96ff-4dd4-9c74-0dc92131d96c" providerId="ADAL" clId="{A8C564F2-344E-466C-8CAB-C56DBFCE9D39}" dt="2023-11-27T13:56:55.050" v="232" actId="478"/>
          <ac:spMkLst>
            <pc:docMk/>
            <pc:sldMk cId="4037864099" sldId="516"/>
            <ac:spMk id="3" creationId="{4CB1EBB1-D69A-4824-90EF-D91AFA76BB50}"/>
          </ac:spMkLst>
        </pc:spChg>
        <pc:picChg chg="del">
          <ac:chgData name="HADHRI Moncef" userId="895ef482-96ff-4dd4-9c74-0dc92131d96c" providerId="ADAL" clId="{A8C564F2-344E-466C-8CAB-C56DBFCE9D39}" dt="2023-11-27T13:56:53.927" v="231" actId="478"/>
          <ac:picMkLst>
            <pc:docMk/>
            <pc:sldMk cId="4037864099" sldId="516"/>
            <ac:picMk id="4" creationId="{39F4F3F4-948D-ADC6-4BEA-5AA647CA5DE8}"/>
          </ac:picMkLst>
        </pc:picChg>
        <pc:picChg chg="add mod">
          <ac:chgData name="HADHRI Moncef" userId="895ef482-96ff-4dd4-9c74-0dc92131d96c" providerId="ADAL" clId="{A8C564F2-344E-466C-8CAB-C56DBFCE9D39}" dt="2023-11-27T13:57:05.605" v="236" actId="14100"/>
          <ac:picMkLst>
            <pc:docMk/>
            <pc:sldMk cId="4037864099" sldId="516"/>
            <ac:picMk id="6" creationId="{4CB7E9F8-7E13-73AB-E4AE-AAAF6E71224F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7:37.029" v="242" actId="1076"/>
        <pc:sldMkLst>
          <pc:docMk/>
          <pc:sldMk cId="1410458262" sldId="517"/>
        </pc:sldMkLst>
        <pc:spChg chg="del">
          <ac:chgData name="HADHRI Moncef" userId="895ef482-96ff-4dd4-9c74-0dc92131d96c" providerId="ADAL" clId="{A8C564F2-344E-466C-8CAB-C56DBFCE9D39}" dt="2023-11-27T13:57:14.952" v="238" actId="478"/>
          <ac:spMkLst>
            <pc:docMk/>
            <pc:sldMk cId="1410458262" sldId="517"/>
            <ac:spMk id="3" creationId="{943D68E0-C7BC-02BA-7863-0CDCE9A729A9}"/>
          </ac:spMkLst>
        </pc:spChg>
        <pc:picChg chg="add mod">
          <ac:chgData name="HADHRI Moncef" userId="895ef482-96ff-4dd4-9c74-0dc92131d96c" providerId="ADAL" clId="{A8C564F2-344E-466C-8CAB-C56DBFCE9D39}" dt="2023-11-27T13:57:37.029" v="242" actId="1076"/>
          <ac:picMkLst>
            <pc:docMk/>
            <pc:sldMk cId="1410458262" sldId="517"/>
            <ac:picMk id="5" creationId="{2439E59D-4673-78BF-D475-3D606DAA4BCE}"/>
          </ac:picMkLst>
        </pc:picChg>
        <pc:picChg chg="del">
          <ac:chgData name="HADHRI Moncef" userId="895ef482-96ff-4dd4-9c74-0dc92131d96c" providerId="ADAL" clId="{A8C564F2-344E-466C-8CAB-C56DBFCE9D39}" dt="2023-11-27T13:57:13.879" v="237" actId="478"/>
          <ac:picMkLst>
            <pc:docMk/>
            <pc:sldMk cId="1410458262" sldId="517"/>
            <ac:picMk id="7" creationId="{9E89C76B-8428-1492-1BEB-7306F8D6BE9E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5:56.209" v="314" actId="1076"/>
        <pc:sldMkLst>
          <pc:docMk/>
          <pc:sldMk cId="2337721770" sldId="519"/>
        </pc:sldMkLst>
        <pc:spChg chg="del">
          <ac:chgData name="HADHRI Moncef" userId="895ef482-96ff-4dd4-9c74-0dc92131d96c" providerId="ADAL" clId="{A8C564F2-344E-466C-8CAB-C56DBFCE9D39}" dt="2023-11-27T14:05:48.443" v="310" actId="478"/>
          <ac:spMkLst>
            <pc:docMk/>
            <pc:sldMk cId="2337721770" sldId="519"/>
            <ac:spMk id="3" creationId="{53744D1D-7D63-DBE8-C05C-2E2CB5626EDB}"/>
          </ac:spMkLst>
        </pc:spChg>
        <pc:picChg chg="add mod">
          <ac:chgData name="HADHRI Moncef" userId="895ef482-96ff-4dd4-9c74-0dc92131d96c" providerId="ADAL" clId="{A8C564F2-344E-466C-8CAB-C56DBFCE9D39}" dt="2023-11-27T14:05:56.209" v="314" actId="1076"/>
          <ac:picMkLst>
            <pc:docMk/>
            <pc:sldMk cId="2337721770" sldId="519"/>
            <ac:picMk id="5" creationId="{FB951C3F-F847-C4EB-AFE8-42CA93A8EF18}"/>
          </ac:picMkLst>
        </pc:picChg>
        <pc:picChg chg="del">
          <ac:chgData name="HADHRI Moncef" userId="895ef482-96ff-4dd4-9c74-0dc92131d96c" providerId="ADAL" clId="{A8C564F2-344E-466C-8CAB-C56DBFCE9D39}" dt="2023-11-27T14:05:47.148" v="309" actId="478"/>
          <ac:picMkLst>
            <pc:docMk/>
            <pc:sldMk cId="2337721770" sldId="519"/>
            <ac:picMk id="7" creationId="{682D45DE-32B5-BDE0-14B3-E82561497771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53:54.085" v="543" actId="1076"/>
        <pc:sldMkLst>
          <pc:docMk/>
          <pc:sldMk cId="3995611519" sldId="520"/>
        </pc:sldMkLst>
        <pc:spChg chg="del">
          <ac:chgData name="HADHRI Moncef" userId="895ef482-96ff-4dd4-9c74-0dc92131d96c" providerId="ADAL" clId="{A8C564F2-344E-466C-8CAB-C56DBFCE9D39}" dt="2023-11-27T14:06:00.564" v="315" actId="478"/>
          <ac:spMkLst>
            <pc:docMk/>
            <pc:sldMk cId="3995611519" sldId="520"/>
            <ac:spMk id="3" creationId="{5A51F78B-1A56-B7B1-4798-688418ADA7FF}"/>
          </ac:spMkLst>
        </pc:spChg>
        <pc:picChg chg="add mod">
          <ac:chgData name="HADHRI Moncef" userId="895ef482-96ff-4dd4-9c74-0dc92131d96c" providerId="ADAL" clId="{A8C564F2-344E-466C-8CAB-C56DBFCE9D39}" dt="2023-11-27T14:53:54.085" v="543" actId="1076"/>
          <ac:picMkLst>
            <pc:docMk/>
            <pc:sldMk cId="3995611519" sldId="520"/>
            <ac:picMk id="5" creationId="{8F957F43-BE16-F45D-7BF3-C19BB3F6E527}"/>
          </ac:picMkLst>
        </pc:picChg>
        <pc:picChg chg="del">
          <ac:chgData name="HADHRI Moncef" userId="895ef482-96ff-4dd4-9c74-0dc92131d96c" providerId="ADAL" clId="{A8C564F2-344E-466C-8CAB-C56DBFCE9D39}" dt="2023-11-27T14:06:21.853" v="316" actId="478"/>
          <ac:picMkLst>
            <pc:docMk/>
            <pc:sldMk cId="3995611519" sldId="520"/>
            <ac:picMk id="7" creationId="{264E447B-B2DB-836E-8CB9-86F2310A2657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8:31.130" v="330" actId="20577"/>
        <pc:sldMkLst>
          <pc:docMk/>
          <pc:sldMk cId="1441936261" sldId="523"/>
        </pc:sldMkLst>
        <pc:spChg chg="del">
          <ac:chgData name="HADHRI Moncef" userId="895ef482-96ff-4dd4-9c74-0dc92131d96c" providerId="ADAL" clId="{A8C564F2-344E-466C-8CAB-C56DBFCE9D39}" dt="2023-11-27T13:32:51.148" v="12" actId="478"/>
          <ac:spMkLst>
            <pc:docMk/>
            <pc:sldMk cId="1441936261" sldId="523"/>
            <ac:spMk id="2" creationId="{20D1E325-A684-F03C-6EF8-41FBC2FD87DD}"/>
          </ac:spMkLst>
        </pc:spChg>
        <pc:spChg chg="mod">
          <ac:chgData name="HADHRI Moncef" userId="895ef482-96ff-4dd4-9c74-0dc92131d96c" providerId="ADAL" clId="{A8C564F2-344E-466C-8CAB-C56DBFCE9D39}" dt="2023-11-27T14:08:31.130" v="330" actId="20577"/>
          <ac:spMkLst>
            <pc:docMk/>
            <pc:sldMk cId="1441936261" sldId="523"/>
            <ac:spMk id="7" creationId="{00000000-0000-0000-0000-000000000000}"/>
          </ac:spMkLst>
        </pc:spChg>
        <pc:picChg chg="add del mod">
          <ac:chgData name="HADHRI Moncef" userId="895ef482-96ff-4dd4-9c74-0dc92131d96c" providerId="ADAL" clId="{A8C564F2-344E-466C-8CAB-C56DBFCE9D39}" dt="2023-11-27T13:33:17.145" v="18" actId="478"/>
          <ac:picMkLst>
            <pc:docMk/>
            <pc:sldMk cId="1441936261" sldId="523"/>
            <ac:picMk id="4" creationId="{957B0CFA-7B42-EF82-ECC4-0151E3757067}"/>
          </ac:picMkLst>
        </pc:picChg>
        <pc:picChg chg="del">
          <ac:chgData name="HADHRI Moncef" userId="895ef482-96ff-4dd4-9c74-0dc92131d96c" providerId="ADAL" clId="{A8C564F2-344E-466C-8CAB-C56DBFCE9D39}" dt="2023-11-27T13:32:52.016" v="13" actId="478"/>
          <ac:picMkLst>
            <pc:docMk/>
            <pc:sldMk cId="1441936261" sldId="523"/>
            <ac:picMk id="6" creationId="{56CB998E-A940-8F1B-1E4B-7EBC7BF0F553}"/>
          </ac:picMkLst>
        </pc:picChg>
        <pc:picChg chg="add mod">
          <ac:chgData name="HADHRI Moncef" userId="895ef482-96ff-4dd4-9c74-0dc92131d96c" providerId="ADAL" clId="{A8C564F2-344E-466C-8CAB-C56DBFCE9D39}" dt="2023-11-27T14:08:26.402" v="329" actId="1076"/>
          <ac:picMkLst>
            <pc:docMk/>
            <pc:sldMk cId="1441936261" sldId="523"/>
            <ac:picMk id="8" creationId="{4B2DF752-88A5-6959-A1E4-2651B69E83CC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9:33.577" v="331" actId="1076"/>
        <pc:sldMkLst>
          <pc:docMk/>
          <pc:sldMk cId="3652464793" sldId="524"/>
        </pc:sldMkLst>
        <pc:spChg chg="del">
          <ac:chgData name="HADHRI Moncef" userId="895ef482-96ff-4dd4-9c74-0dc92131d96c" providerId="ADAL" clId="{A8C564F2-344E-466C-8CAB-C56DBFCE9D39}" dt="2023-11-27T13:34:29.264" v="28" actId="478"/>
          <ac:spMkLst>
            <pc:docMk/>
            <pc:sldMk cId="3652464793" sldId="524"/>
            <ac:spMk id="2" creationId="{4EA3EF73-D6A4-CE01-AB8A-668166D065FE}"/>
          </ac:spMkLst>
        </pc:spChg>
        <pc:picChg chg="add mod">
          <ac:chgData name="HADHRI Moncef" userId="895ef482-96ff-4dd4-9c74-0dc92131d96c" providerId="ADAL" clId="{A8C564F2-344E-466C-8CAB-C56DBFCE9D39}" dt="2023-11-27T14:09:33.577" v="331" actId="1076"/>
          <ac:picMkLst>
            <pc:docMk/>
            <pc:sldMk cId="3652464793" sldId="524"/>
            <ac:picMk id="4" creationId="{0089E27A-70F1-07BF-FBAC-E6DE678E1F03}"/>
          </ac:picMkLst>
        </pc:picChg>
        <pc:picChg chg="del">
          <ac:chgData name="HADHRI Moncef" userId="895ef482-96ff-4dd4-9c74-0dc92131d96c" providerId="ADAL" clId="{A8C564F2-344E-466C-8CAB-C56DBFCE9D39}" dt="2023-11-27T13:34:20.006" v="24" actId="478"/>
          <ac:picMkLst>
            <pc:docMk/>
            <pc:sldMk cId="3652464793" sldId="524"/>
            <ac:picMk id="9" creationId="{BF0FE40D-49C6-4572-B3BE-ACE9BC80365C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43:59.649" v="525" actId="1076"/>
        <pc:sldMkLst>
          <pc:docMk/>
          <pc:sldMk cId="1797321108" sldId="525"/>
        </pc:sldMkLst>
        <pc:spChg chg="del">
          <ac:chgData name="HADHRI Moncef" userId="895ef482-96ff-4dd4-9c74-0dc92131d96c" providerId="ADAL" clId="{A8C564F2-344E-466C-8CAB-C56DBFCE9D39}" dt="2023-11-27T13:37:35.269" v="43" actId="478"/>
          <ac:spMkLst>
            <pc:docMk/>
            <pc:sldMk cId="1797321108" sldId="525"/>
            <ac:spMk id="2" creationId="{FDAA1109-9B66-9D27-8982-BFD6BDE2AF0B}"/>
          </ac:spMkLst>
        </pc:spChg>
        <pc:spChg chg="mod">
          <ac:chgData name="HADHRI Moncef" userId="895ef482-96ff-4dd4-9c74-0dc92131d96c" providerId="ADAL" clId="{A8C564F2-344E-466C-8CAB-C56DBFCE9D39}" dt="2023-11-27T14:13:20.722" v="384" actId="20577"/>
          <ac:spMkLst>
            <pc:docMk/>
            <pc:sldMk cId="1797321108" sldId="525"/>
            <ac:spMk id="7" creationId="{00000000-0000-0000-0000-000000000000}"/>
          </ac:spMkLst>
        </pc:spChg>
        <pc:picChg chg="add mod">
          <ac:chgData name="HADHRI Moncef" userId="895ef482-96ff-4dd4-9c74-0dc92131d96c" providerId="ADAL" clId="{A8C564F2-344E-466C-8CAB-C56DBFCE9D39}" dt="2023-11-27T14:43:59.649" v="525" actId="1076"/>
          <ac:picMkLst>
            <pc:docMk/>
            <pc:sldMk cId="1797321108" sldId="525"/>
            <ac:picMk id="4" creationId="{5E8FAC5F-D963-2351-67B6-CA6AFBEB960D}"/>
          </ac:picMkLst>
        </pc:picChg>
        <pc:picChg chg="del">
          <ac:chgData name="HADHRI Moncef" userId="895ef482-96ff-4dd4-9c74-0dc92131d96c" providerId="ADAL" clId="{A8C564F2-344E-466C-8CAB-C56DBFCE9D39}" dt="2023-11-27T13:37:34.226" v="42" actId="478"/>
          <ac:picMkLst>
            <pc:docMk/>
            <pc:sldMk cId="1797321108" sldId="525"/>
            <ac:picMk id="10" creationId="{2DEB2506-7775-00AA-344C-CB238CC81F8F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38:42.006" v="56" actId="1076"/>
        <pc:sldMkLst>
          <pc:docMk/>
          <pc:sldMk cId="3840129972" sldId="526"/>
        </pc:sldMkLst>
        <pc:spChg chg="del">
          <ac:chgData name="HADHRI Moncef" userId="895ef482-96ff-4dd4-9c74-0dc92131d96c" providerId="ADAL" clId="{A8C564F2-344E-466C-8CAB-C56DBFCE9D39}" dt="2023-11-27T13:38:18.335" v="53" actId="478"/>
          <ac:spMkLst>
            <pc:docMk/>
            <pc:sldMk cId="3840129972" sldId="526"/>
            <ac:spMk id="2" creationId="{296116A6-07B9-39A2-CFCC-8D6B9B312971}"/>
          </ac:spMkLst>
        </pc:spChg>
        <pc:picChg chg="del">
          <ac:chgData name="HADHRI Moncef" userId="895ef482-96ff-4dd4-9c74-0dc92131d96c" providerId="ADAL" clId="{A8C564F2-344E-466C-8CAB-C56DBFCE9D39}" dt="2023-11-27T13:38:36.740" v="54" actId="478"/>
          <ac:picMkLst>
            <pc:docMk/>
            <pc:sldMk cId="3840129972" sldId="526"/>
            <ac:picMk id="3" creationId="{818B45A0-EEB7-9B70-FA7B-577139C2ABED}"/>
          </ac:picMkLst>
        </pc:picChg>
        <pc:picChg chg="add mod">
          <ac:chgData name="HADHRI Moncef" userId="895ef482-96ff-4dd4-9c74-0dc92131d96c" providerId="ADAL" clId="{A8C564F2-344E-466C-8CAB-C56DBFCE9D39}" dt="2023-11-27T13:38:42.006" v="56" actId="1076"/>
          <ac:picMkLst>
            <pc:docMk/>
            <pc:sldMk cId="3840129972" sldId="526"/>
            <ac:picMk id="5" creationId="{F4A1DD07-8A95-A20C-C308-C15934A4DBE1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14:47.211" v="406" actId="20577"/>
        <pc:sldMkLst>
          <pc:docMk/>
          <pc:sldMk cId="611791896" sldId="527"/>
        </pc:sldMkLst>
        <pc:spChg chg="del">
          <ac:chgData name="HADHRI Moncef" userId="895ef482-96ff-4dd4-9c74-0dc92131d96c" providerId="ADAL" clId="{A8C564F2-344E-466C-8CAB-C56DBFCE9D39}" dt="2023-11-27T13:38:57.118" v="58" actId="478"/>
          <ac:spMkLst>
            <pc:docMk/>
            <pc:sldMk cId="611791896" sldId="527"/>
            <ac:spMk id="2" creationId="{B1FA2D9E-1AA8-4797-71B1-BFCA9006B82E}"/>
          </ac:spMkLst>
        </pc:spChg>
        <pc:spChg chg="mod">
          <ac:chgData name="HADHRI Moncef" userId="895ef482-96ff-4dd4-9c74-0dc92131d96c" providerId="ADAL" clId="{A8C564F2-344E-466C-8CAB-C56DBFCE9D39}" dt="2023-11-27T14:14:47.211" v="406" actId="20577"/>
          <ac:spMkLst>
            <pc:docMk/>
            <pc:sldMk cId="611791896" sldId="527"/>
            <ac:spMk id="7" creationId="{00000000-0000-0000-0000-000000000000}"/>
          </ac:spMkLst>
        </pc:spChg>
        <pc:picChg chg="add del mod">
          <ac:chgData name="HADHRI Moncef" userId="895ef482-96ff-4dd4-9c74-0dc92131d96c" providerId="ADAL" clId="{A8C564F2-344E-466C-8CAB-C56DBFCE9D39}" dt="2023-11-27T13:39:15.054" v="63" actId="478"/>
          <ac:picMkLst>
            <pc:docMk/>
            <pc:sldMk cId="611791896" sldId="527"/>
            <ac:picMk id="4" creationId="{0420E66F-4214-C8A3-3804-9DF2C7FE0FD9}"/>
          </ac:picMkLst>
        </pc:picChg>
        <pc:picChg chg="del">
          <ac:chgData name="HADHRI Moncef" userId="895ef482-96ff-4dd4-9c74-0dc92131d96c" providerId="ADAL" clId="{A8C564F2-344E-466C-8CAB-C56DBFCE9D39}" dt="2023-11-27T13:38:56.223" v="57" actId="478"/>
          <ac:picMkLst>
            <pc:docMk/>
            <pc:sldMk cId="611791896" sldId="527"/>
            <ac:picMk id="6" creationId="{A80FD2A2-5EAA-00F1-2380-9404EAE0D532}"/>
          </ac:picMkLst>
        </pc:picChg>
        <pc:picChg chg="add mod">
          <ac:chgData name="HADHRI Moncef" userId="895ef482-96ff-4dd4-9c74-0dc92131d96c" providerId="ADAL" clId="{A8C564F2-344E-466C-8CAB-C56DBFCE9D39}" dt="2023-11-27T13:39:33.862" v="68" actId="1076"/>
          <ac:picMkLst>
            <pc:docMk/>
            <pc:sldMk cId="611791896" sldId="527"/>
            <ac:picMk id="8" creationId="{DA67A49B-F21B-D972-A8D6-151789FD1E35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15:30.192" v="425" actId="20577"/>
        <pc:sldMkLst>
          <pc:docMk/>
          <pc:sldMk cId="4050344241" sldId="528"/>
        </pc:sldMkLst>
        <pc:spChg chg="del">
          <ac:chgData name="HADHRI Moncef" userId="895ef482-96ff-4dd4-9c74-0dc92131d96c" providerId="ADAL" clId="{A8C564F2-344E-466C-8CAB-C56DBFCE9D39}" dt="2023-11-27T13:39:51.137" v="70" actId="478"/>
          <ac:spMkLst>
            <pc:docMk/>
            <pc:sldMk cId="4050344241" sldId="528"/>
            <ac:spMk id="2" creationId="{B66F0DBF-8764-9D52-80D7-F072001DDC14}"/>
          </ac:spMkLst>
        </pc:spChg>
        <pc:spChg chg="mod">
          <ac:chgData name="HADHRI Moncef" userId="895ef482-96ff-4dd4-9c74-0dc92131d96c" providerId="ADAL" clId="{A8C564F2-344E-466C-8CAB-C56DBFCE9D39}" dt="2023-11-27T14:15:30.192" v="425" actId="20577"/>
          <ac:spMkLst>
            <pc:docMk/>
            <pc:sldMk cId="4050344241" sldId="528"/>
            <ac:spMk id="7" creationId="{00000000-0000-0000-0000-000000000000}"/>
          </ac:spMkLst>
        </pc:spChg>
        <pc:picChg chg="add mod">
          <ac:chgData name="HADHRI Moncef" userId="895ef482-96ff-4dd4-9c74-0dc92131d96c" providerId="ADAL" clId="{A8C564F2-344E-466C-8CAB-C56DBFCE9D39}" dt="2023-11-27T13:39:56.839" v="72" actId="1076"/>
          <ac:picMkLst>
            <pc:docMk/>
            <pc:sldMk cId="4050344241" sldId="528"/>
            <ac:picMk id="4" creationId="{C4EF954D-7B5F-7306-656B-603D1C899816}"/>
          </ac:picMkLst>
        </pc:picChg>
        <pc:picChg chg="del">
          <ac:chgData name="HADHRI Moncef" userId="895ef482-96ff-4dd4-9c74-0dc92131d96c" providerId="ADAL" clId="{A8C564F2-344E-466C-8CAB-C56DBFCE9D39}" dt="2023-11-27T13:39:50.007" v="69" actId="478"/>
          <ac:picMkLst>
            <pc:docMk/>
            <pc:sldMk cId="4050344241" sldId="528"/>
            <ac:picMk id="6" creationId="{72D23657-A19F-1343-9B94-D602BD8AC61C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19:15.879" v="461" actId="1076"/>
        <pc:sldMkLst>
          <pc:docMk/>
          <pc:sldMk cId="3970380033" sldId="529"/>
        </pc:sldMkLst>
        <pc:spChg chg="del">
          <ac:chgData name="HADHRI Moncef" userId="895ef482-96ff-4dd4-9c74-0dc92131d96c" providerId="ADAL" clId="{A8C564F2-344E-466C-8CAB-C56DBFCE9D39}" dt="2023-11-27T13:42:01.128" v="94" actId="478"/>
          <ac:spMkLst>
            <pc:docMk/>
            <pc:sldMk cId="3970380033" sldId="529"/>
            <ac:spMk id="2" creationId="{AD981262-E54F-1069-9BDC-F8469FE01E97}"/>
          </ac:spMkLst>
        </pc:spChg>
        <pc:spChg chg="mod">
          <ac:chgData name="HADHRI Moncef" userId="895ef482-96ff-4dd4-9c74-0dc92131d96c" providerId="ADAL" clId="{A8C564F2-344E-466C-8CAB-C56DBFCE9D39}" dt="2023-11-27T14:19:11.500" v="460" actId="20577"/>
          <ac:spMkLst>
            <pc:docMk/>
            <pc:sldMk cId="3970380033" sldId="529"/>
            <ac:spMk id="7" creationId="{00000000-0000-0000-0000-000000000000}"/>
          </ac:spMkLst>
        </pc:spChg>
        <pc:picChg chg="add mod">
          <ac:chgData name="HADHRI Moncef" userId="895ef482-96ff-4dd4-9c74-0dc92131d96c" providerId="ADAL" clId="{A8C564F2-344E-466C-8CAB-C56DBFCE9D39}" dt="2023-11-27T14:19:15.879" v="461" actId="1076"/>
          <ac:picMkLst>
            <pc:docMk/>
            <pc:sldMk cId="3970380033" sldId="529"/>
            <ac:picMk id="4" creationId="{77F9740C-FB8C-7387-5A1C-DD047B7CF9BC}"/>
          </ac:picMkLst>
        </pc:picChg>
        <pc:picChg chg="del">
          <ac:chgData name="HADHRI Moncef" userId="895ef482-96ff-4dd4-9c74-0dc92131d96c" providerId="ADAL" clId="{A8C564F2-344E-466C-8CAB-C56DBFCE9D39}" dt="2023-11-27T13:42:02.750" v="95" actId="478"/>
          <ac:picMkLst>
            <pc:docMk/>
            <pc:sldMk cId="3970380033" sldId="529"/>
            <ac:picMk id="5" creationId="{B55E2364-E305-DF56-1BE6-C681868141E5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43:08.365" v="118" actId="1036"/>
        <pc:sldMkLst>
          <pc:docMk/>
          <pc:sldMk cId="2267228707" sldId="530"/>
        </pc:sldMkLst>
        <pc:spChg chg="del">
          <ac:chgData name="HADHRI Moncef" userId="895ef482-96ff-4dd4-9c74-0dc92131d96c" providerId="ADAL" clId="{A8C564F2-344E-466C-8CAB-C56DBFCE9D39}" dt="2023-11-27T13:42:32.517" v="101" actId="478"/>
          <ac:spMkLst>
            <pc:docMk/>
            <pc:sldMk cId="2267228707" sldId="530"/>
            <ac:spMk id="2" creationId="{03AAB508-4247-F748-6DD0-3AAB1E4B33A8}"/>
          </ac:spMkLst>
        </pc:spChg>
        <pc:picChg chg="del">
          <ac:chgData name="HADHRI Moncef" userId="895ef482-96ff-4dd4-9c74-0dc92131d96c" providerId="ADAL" clId="{A8C564F2-344E-466C-8CAB-C56DBFCE9D39}" dt="2023-11-27T13:42:33.023" v="102" actId="478"/>
          <ac:picMkLst>
            <pc:docMk/>
            <pc:sldMk cId="2267228707" sldId="530"/>
            <ac:picMk id="3" creationId="{DEF4F647-CCAC-D67C-5290-BDDDB9120B8F}"/>
          </ac:picMkLst>
        </pc:picChg>
        <pc:picChg chg="add mod">
          <ac:chgData name="HADHRI Moncef" userId="895ef482-96ff-4dd4-9c74-0dc92131d96c" providerId="ADAL" clId="{A8C564F2-344E-466C-8CAB-C56DBFCE9D39}" dt="2023-11-27T13:43:08.365" v="118" actId="1036"/>
          <ac:picMkLst>
            <pc:docMk/>
            <pc:sldMk cId="2267228707" sldId="530"/>
            <ac:picMk id="5" creationId="{CDB25E0B-AC59-0634-19A5-B4AD3C7191B3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23:09.975" v="476" actId="1076"/>
        <pc:sldMkLst>
          <pc:docMk/>
          <pc:sldMk cId="399590516" sldId="531"/>
        </pc:sldMkLst>
        <pc:spChg chg="del">
          <ac:chgData name="HADHRI Moncef" userId="895ef482-96ff-4dd4-9c74-0dc92131d96c" providerId="ADAL" clId="{A8C564F2-344E-466C-8CAB-C56DBFCE9D39}" dt="2023-11-27T13:44:15.549" v="133" actId="478"/>
          <ac:spMkLst>
            <pc:docMk/>
            <pc:sldMk cId="399590516" sldId="531"/>
            <ac:spMk id="2" creationId="{360781DB-0067-E676-B10A-97E73D9A9EE7}"/>
          </ac:spMkLst>
        </pc:spChg>
        <pc:picChg chg="del">
          <ac:chgData name="HADHRI Moncef" userId="895ef482-96ff-4dd4-9c74-0dc92131d96c" providerId="ADAL" clId="{A8C564F2-344E-466C-8CAB-C56DBFCE9D39}" dt="2023-11-27T13:44:28.982" v="134" actId="478"/>
          <ac:picMkLst>
            <pc:docMk/>
            <pc:sldMk cId="399590516" sldId="531"/>
            <ac:picMk id="4" creationId="{990DBE29-941A-D760-FC5F-4BFF2339CEA2}"/>
          </ac:picMkLst>
        </pc:picChg>
        <pc:picChg chg="add del mod">
          <ac:chgData name="HADHRI Moncef" userId="895ef482-96ff-4dd4-9c74-0dc92131d96c" providerId="ADAL" clId="{A8C564F2-344E-466C-8CAB-C56DBFCE9D39}" dt="2023-11-27T13:44:55.557" v="140" actId="478"/>
          <ac:picMkLst>
            <pc:docMk/>
            <pc:sldMk cId="399590516" sldId="531"/>
            <ac:picMk id="5" creationId="{E601312C-EC2D-74C6-2E3F-42FAD8481A48}"/>
          </ac:picMkLst>
        </pc:picChg>
        <pc:picChg chg="add mod">
          <ac:chgData name="HADHRI Moncef" userId="895ef482-96ff-4dd4-9c74-0dc92131d96c" providerId="ADAL" clId="{A8C564F2-344E-466C-8CAB-C56DBFCE9D39}" dt="2023-11-27T14:23:09.975" v="476" actId="1076"/>
          <ac:picMkLst>
            <pc:docMk/>
            <pc:sldMk cId="399590516" sldId="531"/>
            <ac:picMk id="8" creationId="{4938476C-1137-16D5-D0A0-C74019D7DE15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47:04.999" v="152" actId="1076"/>
        <pc:sldMkLst>
          <pc:docMk/>
          <pc:sldMk cId="1113706935" sldId="532"/>
        </pc:sldMkLst>
        <pc:spChg chg="del">
          <ac:chgData name="HADHRI Moncef" userId="895ef482-96ff-4dd4-9c74-0dc92131d96c" providerId="ADAL" clId="{A8C564F2-344E-466C-8CAB-C56DBFCE9D39}" dt="2023-11-27T13:45:45.234" v="147" actId="478"/>
          <ac:spMkLst>
            <pc:docMk/>
            <pc:sldMk cId="1113706935" sldId="532"/>
            <ac:spMk id="2" creationId="{DFC4EB7E-3A22-1667-FA12-02ECE34E5357}"/>
          </ac:spMkLst>
        </pc:spChg>
        <pc:picChg chg="add mod">
          <ac:chgData name="HADHRI Moncef" userId="895ef482-96ff-4dd4-9c74-0dc92131d96c" providerId="ADAL" clId="{A8C564F2-344E-466C-8CAB-C56DBFCE9D39}" dt="2023-11-27T13:47:04.999" v="152" actId="1076"/>
          <ac:picMkLst>
            <pc:docMk/>
            <pc:sldMk cId="1113706935" sldId="532"/>
            <ac:picMk id="4" creationId="{1B3F4999-3332-463F-2884-2584B433AE99}"/>
          </ac:picMkLst>
        </pc:picChg>
        <pc:picChg chg="del">
          <ac:chgData name="HADHRI Moncef" userId="895ef482-96ff-4dd4-9c74-0dc92131d96c" providerId="ADAL" clId="{A8C564F2-344E-466C-8CAB-C56DBFCE9D39}" dt="2023-11-27T13:46:38.319" v="148" actId="478"/>
          <ac:picMkLst>
            <pc:docMk/>
            <pc:sldMk cId="1113706935" sldId="532"/>
            <ac:picMk id="5" creationId="{A16715C2-6950-4C38-6196-F088BAF9486E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30:23.316" v="502" actId="20577"/>
        <pc:sldMkLst>
          <pc:docMk/>
          <pc:sldMk cId="160286315" sldId="533"/>
        </pc:sldMkLst>
        <pc:spChg chg="mod">
          <ac:chgData name="HADHRI Moncef" userId="895ef482-96ff-4dd4-9c74-0dc92131d96c" providerId="ADAL" clId="{A8C564F2-344E-466C-8CAB-C56DBFCE9D39}" dt="2023-11-27T14:30:23.316" v="502" actId="20577"/>
          <ac:spMkLst>
            <pc:docMk/>
            <pc:sldMk cId="160286315" sldId="533"/>
            <ac:spMk id="2" creationId="{00000000-0000-0000-0000-000000000000}"/>
          </ac:spMkLst>
        </pc:spChg>
        <pc:spChg chg="del">
          <ac:chgData name="HADHRI Moncef" userId="895ef482-96ff-4dd4-9c74-0dc92131d96c" providerId="ADAL" clId="{A8C564F2-344E-466C-8CAB-C56DBFCE9D39}" dt="2023-11-27T13:50:25.383" v="188" actId="478"/>
          <ac:spMkLst>
            <pc:docMk/>
            <pc:sldMk cId="160286315" sldId="533"/>
            <ac:spMk id="3" creationId="{72C5BC7C-2971-4F2A-B8BE-66353152AB8A}"/>
          </ac:spMkLst>
        </pc:spChg>
        <pc:picChg chg="add del mod">
          <ac:chgData name="HADHRI Moncef" userId="895ef482-96ff-4dd4-9c74-0dc92131d96c" providerId="ADAL" clId="{A8C564F2-344E-466C-8CAB-C56DBFCE9D39}" dt="2023-11-27T13:51:24.737" v="193" actId="478"/>
          <ac:picMkLst>
            <pc:docMk/>
            <pc:sldMk cId="160286315" sldId="533"/>
            <ac:picMk id="5" creationId="{0BE48846-D2F5-32D2-4AAF-53C57DDC9B90}"/>
          </ac:picMkLst>
        </pc:picChg>
        <pc:picChg chg="add mod">
          <ac:chgData name="HADHRI Moncef" userId="895ef482-96ff-4dd4-9c74-0dc92131d96c" providerId="ADAL" clId="{A8C564F2-344E-466C-8CAB-C56DBFCE9D39}" dt="2023-11-27T13:51:39.016" v="198" actId="1076"/>
          <ac:picMkLst>
            <pc:docMk/>
            <pc:sldMk cId="160286315" sldId="533"/>
            <ac:picMk id="7" creationId="{7BAFE34D-CECE-8B49-DA7F-AF1F52F91AFF}"/>
          </ac:picMkLst>
        </pc:picChg>
        <pc:picChg chg="del">
          <ac:chgData name="HADHRI Moncef" userId="895ef482-96ff-4dd4-9c74-0dc92131d96c" providerId="ADAL" clId="{A8C564F2-344E-466C-8CAB-C56DBFCE9D39}" dt="2023-11-27T13:50:37.919" v="189" actId="478"/>
          <ac:picMkLst>
            <pc:docMk/>
            <pc:sldMk cId="160286315" sldId="533"/>
            <ac:picMk id="8" creationId="{D2290552-EE93-D217-C9FC-63293A9F9AED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3:52:11.701" v="204" actId="1076"/>
        <pc:sldMkLst>
          <pc:docMk/>
          <pc:sldMk cId="3408810239" sldId="534"/>
        </pc:sldMkLst>
        <pc:spChg chg="del mod">
          <ac:chgData name="HADHRI Moncef" userId="895ef482-96ff-4dd4-9c74-0dc92131d96c" providerId="ADAL" clId="{A8C564F2-344E-466C-8CAB-C56DBFCE9D39}" dt="2023-11-27T13:51:51.144" v="200" actId="478"/>
          <ac:spMkLst>
            <pc:docMk/>
            <pc:sldMk cId="3408810239" sldId="534"/>
            <ac:spMk id="3" creationId="{4D8A289D-24D4-8915-8E9B-EBA2FDC1751E}"/>
          </ac:spMkLst>
        </pc:spChg>
        <pc:picChg chg="add mod">
          <ac:chgData name="HADHRI Moncef" userId="895ef482-96ff-4dd4-9c74-0dc92131d96c" providerId="ADAL" clId="{A8C564F2-344E-466C-8CAB-C56DBFCE9D39}" dt="2023-11-27T13:52:11.701" v="204" actId="1076"/>
          <ac:picMkLst>
            <pc:docMk/>
            <pc:sldMk cId="3408810239" sldId="534"/>
            <ac:picMk id="5" creationId="{9B43014C-87B4-D74D-DF07-99A9E7AC3558}"/>
          </ac:picMkLst>
        </pc:picChg>
        <pc:picChg chg="del">
          <ac:chgData name="HADHRI Moncef" userId="895ef482-96ff-4dd4-9c74-0dc92131d96c" providerId="ADAL" clId="{A8C564F2-344E-466C-8CAB-C56DBFCE9D39}" dt="2023-11-27T13:52:02.782" v="201" actId="478"/>
          <ac:picMkLst>
            <pc:docMk/>
            <pc:sldMk cId="3408810239" sldId="534"/>
            <ac:picMk id="7" creationId="{6574FF07-674E-4C05-B854-9FC0294B4F54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0:28.213" v="257" actId="1076"/>
        <pc:sldMkLst>
          <pc:docMk/>
          <pc:sldMk cId="1580970320" sldId="536"/>
        </pc:sldMkLst>
        <pc:spChg chg="del">
          <ac:chgData name="HADHRI Moncef" userId="895ef482-96ff-4dd4-9c74-0dc92131d96c" providerId="ADAL" clId="{A8C564F2-344E-466C-8CAB-C56DBFCE9D39}" dt="2023-11-27T14:00:10.275" v="252" actId="478"/>
          <ac:spMkLst>
            <pc:docMk/>
            <pc:sldMk cId="1580970320" sldId="536"/>
            <ac:spMk id="3" creationId="{D51C3FF4-4C2A-2F89-761D-A1AB2B0A2C32}"/>
          </ac:spMkLst>
        </pc:spChg>
        <pc:picChg chg="add mod">
          <ac:chgData name="HADHRI Moncef" userId="895ef482-96ff-4dd4-9c74-0dc92131d96c" providerId="ADAL" clId="{A8C564F2-344E-466C-8CAB-C56DBFCE9D39}" dt="2023-11-27T14:00:28.213" v="257" actId="1076"/>
          <ac:picMkLst>
            <pc:docMk/>
            <pc:sldMk cId="1580970320" sldId="536"/>
            <ac:picMk id="5" creationId="{7354C6DE-B6E5-56DE-506D-6FBFD81CA253}"/>
          </ac:picMkLst>
        </pc:picChg>
        <pc:picChg chg="del">
          <ac:chgData name="HADHRI Moncef" userId="895ef482-96ff-4dd4-9c74-0dc92131d96c" providerId="ADAL" clId="{A8C564F2-344E-466C-8CAB-C56DBFCE9D39}" dt="2023-11-27T14:00:09.230" v="251" actId="478"/>
          <ac:picMkLst>
            <pc:docMk/>
            <pc:sldMk cId="1580970320" sldId="536"/>
            <ac:picMk id="11" creationId="{02497FB5-0735-CAE8-8DA1-5B3432D6ACAE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1:42.811" v="264" actId="14100"/>
        <pc:sldMkLst>
          <pc:docMk/>
          <pc:sldMk cId="3992291547" sldId="537"/>
        </pc:sldMkLst>
        <pc:spChg chg="del">
          <ac:chgData name="HADHRI Moncef" userId="895ef482-96ff-4dd4-9c74-0dc92131d96c" providerId="ADAL" clId="{A8C564F2-344E-466C-8CAB-C56DBFCE9D39}" dt="2023-11-27T14:01:14.599" v="259" actId="478"/>
          <ac:spMkLst>
            <pc:docMk/>
            <pc:sldMk cId="3992291547" sldId="537"/>
            <ac:spMk id="3" creationId="{90EB1232-9DB5-9879-5A3B-806647318EA8}"/>
          </ac:spMkLst>
        </pc:spChg>
        <pc:picChg chg="add mod">
          <ac:chgData name="HADHRI Moncef" userId="895ef482-96ff-4dd4-9c74-0dc92131d96c" providerId="ADAL" clId="{A8C564F2-344E-466C-8CAB-C56DBFCE9D39}" dt="2023-11-27T14:01:42.811" v="264" actId="14100"/>
          <ac:picMkLst>
            <pc:docMk/>
            <pc:sldMk cId="3992291547" sldId="537"/>
            <ac:picMk id="5" creationId="{846F1DB4-762F-A355-76AC-98260035652B}"/>
          </ac:picMkLst>
        </pc:picChg>
        <pc:picChg chg="del">
          <ac:chgData name="HADHRI Moncef" userId="895ef482-96ff-4dd4-9c74-0dc92131d96c" providerId="ADAL" clId="{A8C564F2-344E-466C-8CAB-C56DBFCE9D39}" dt="2023-11-27T14:01:30.819" v="260" actId="478"/>
          <ac:picMkLst>
            <pc:docMk/>
            <pc:sldMk cId="3992291547" sldId="537"/>
            <ac:picMk id="12" creationId="{62DE971A-948C-DB1E-75AE-982492AFE720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2:13.307" v="271" actId="14100"/>
        <pc:sldMkLst>
          <pc:docMk/>
          <pc:sldMk cId="4234730277" sldId="538"/>
        </pc:sldMkLst>
        <pc:spChg chg="del">
          <ac:chgData name="HADHRI Moncef" userId="895ef482-96ff-4dd4-9c74-0dc92131d96c" providerId="ADAL" clId="{A8C564F2-344E-466C-8CAB-C56DBFCE9D39}" dt="2023-11-27T14:02:02.854" v="266" actId="478"/>
          <ac:spMkLst>
            <pc:docMk/>
            <pc:sldMk cId="4234730277" sldId="538"/>
            <ac:spMk id="3" creationId="{17F0FCB9-8028-96AA-B2D2-776B2907322F}"/>
          </ac:spMkLst>
        </pc:spChg>
        <pc:picChg chg="add mod">
          <ac:chgData name="HADHRI Moncef" userId="895ef482-96ff-4dd4-9c74-0dc92131d96c" providerId="ADAL" clId="{A8C564F2-344E-466C-8CAB-C56DBFCE9D39}" dt="2023-11-27T14:02:13.307" v="271" actId="14100"/>
          <ac:picMkLst>
            <pc:docMk/>
            <pc:sldMk cId="4234730277" sldId="538"/>
            <ac:picMk id="5" creationId="{ECFFFE50-CAD1-8208-7422-9BDF185B9872}"/>
          </ac:picMkLst>
        </pc:picChg>
        <pc:picChg chg="del">
          <ac:chgData name="HADHRI Moncef" userId="895ef482-96ff-4dd4-9c74-0dc92131d96c" providerId="ADAL" clId="{A8C564F2-344E-466C-8CAB-C56DBFCE9D39}" dt="2023-11-27T14:02:01.467" v="265" actId="478"/>
          <ac:picMkLst>
            <pc:docMk/>
            <pc:sldMk cId="4234730277" sldId="538"/>
            <ac:picMk id="7" creationId="{9F0A1CB2-AE5A-B998-3568-2D88450F3A3E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3:10.706" v="282" actId="1076"/>
        <pc:sldMkLst>
          <pc:docMk/>
          <pc:sldMk cId="4125945156" sldId="539"/>
        </pc:sldMkLst>
        <pc:spChg chg="del">
          <ac:chgData name="HADHRI Moncef" userId="895ef482-96ff-4dd4-9c74-0dc92131d96c" providerId="ADAL" clId="{A8C564F2-344E-466C-8CAB-C56DBFCE9D39}" dt="2023-11-27T14:02:47.636" v="278" actId="478"/>
          <ac:spMkLst>
            <pc:docMk/>
            <pc:sldMk cId="4125945156" sldId="539"/>
            <ac:spMk id="3" creationId="{50389B55-D1EC-F793-1F63-A35AAF579751}"/>
          </ac:spMkLst>
        </pc:spChg>
        <pc:picChg chg="add mod">
          <ac:chgData name="HADHRI Moncef" userId="895ef482-96ff-4dd4-9c74-0dc92131d96c" providerId="ADAL" clId="{A8C564F2-344E-466C-8CAB-C56DBFCE9D39}" dt="2023-11-27T14:03:10.706" v="282" actId="1076"/>
          <ac:picMkLst>
            <pc:docMk/>
            <pc:sldMk cId="4125945156" sldId="539"/>
            <ac:picMk id="5" creationId="{03205A16-1A08-2D0A-207E-2B356BFC4EED}"/>
          </ac:picMkLst>
        </pc:picChg>
        <pc:picChg chg="del">
          <ac:chgData name="HADHRI Moncef" userId="895ef482-96ff-4dd4-9c74-0dc92131d96c" providerId="ADAL" clId="{A8C564F2-344E-466C-8CAB-C56DBFCE9D39}" dt="2023-11-27T14:02:59.098" v="279" actId="478"/>
          <ac:picMkLst>
            <pc:docMk/>
            <pc:sldMk cId="4125945156" sldId="539"/>
            <ac:picMk id="10" creationId="{461E589A-91B3-5129-EC6F-C2118E6E96B0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53:09.009" v="541" actId="1076"/>
        <pc:sldMkLst>
          <pc:docMk/>
          <pc:sldMk cId="1691932536" sldId="540"/>
        </pc:sldMkLst>
        <pc:spChg chg="mod">
          <ac:chgData name="HADHRI Moncef" userId="895ef482-96ff-4dd4-9c74-0dc92131d96c" providerId="ADAL" clId="{A8C564F2-344E-466C-8CAB-C56DBFCE9D39}" dt="2023-11-27T14:53:07.079" v="540" actId="14100"/>
          <ac:spMkLst>
            <pc:docMk/>
            <pc:sldMk cId="1691932536" sldId="540"/>
            <ac:spMk id="2" creationId="{00000000-0000-0000-0000-000000000000}"/>
          </ac:spMkLst>
        </pc:spChg>
        <pc:spChg chg="del">
          <ac:chgData name="HADHRI Moncef" userId="895ef482-96ff-4dd4-9c74-0dc92131d96c" providerId="ADAL" clId="{A8C564F2-344E-466C-8CAB-C56DBFCE9D39}" dt="2023-11-27T14:03:35.132" v="284" actId="478"/>
          <ac:spMkLst>
            <pc:docMk/>
            <pc:sldMk cId="1691932536" sldId="540"/>
            <ac:spMk id="3" creationId="{636BADE2-032B-3B79-D5D2-8FD5510DB2FA}"/>
          </ac:spMkLst>
        </pc:spChg>
        <pc:picChg chg="del">
          <ac:chgData name="HADHRI Moncef" userId="895ef482-96ff-4dd4-9c74-0dc92131d96c" providerId="ADAL" clId="{A8C564F2-344E-466C-8CAB-C56DBFCE9D39}" dt="2023-11-27T14:03:34.003" v="283" actId="478"/>
          <ac:picMkLst>
            <pc:docMk/>
            <pc:sldMk cId="1691932536" sldId="540"/>
            <ac:picMk id="4" creationId="{92C25BF8-D590-0A9B-EF60-CDC585D85A15}"/>
          </ac:picMkLst>
        </pc:picChg>
        <pc:picChg chg="add mod">
          <ac:chgData name="HADHRI Moncef" userId="895ef482-96ff-4dd4-9c74-0dc92131d96c" providerId="ADAL" clId="{A8C564F2-344E-466C-8CAB-C56DBFCE9D39}" dt="2023-11-27T14:53:09.009" v="541" actId="1076"/>
          <ac:picMkLst>
            <pc:docMk/>
            <pc:sldMk cId="1691932536" sldId="540"/>
            <ac:picMk id="6" creationId="{C2B4D05E-0CD9-6C04-4E34-95D15301E8CE}"/>
          </ac:picMkLst>
        </pc:picChg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3458925768" sldId="543"/>
        </pc:sldMkLst>
      </pc:sldChg>
      <pc:sldChg chg="delSp mod">
        <pc:chgData name="HADHRI Moncef" userId="895ef482-96ff-4dd4-9c74-0dc92131d96c" providerId="ADAL" clId="{A8C564F2-344E-466C-8CAB-C56DBFCE9D39}" dt="2023-11-27T13:48:55.218" v="177" actId="478"/>
        <pc:sldMkLst>
          <pc:docMk/>
          <pc:sldMk cId="2969974098" sldId="546"/>
        </pc:sldMkLst>
        <pc:spChg chg="del">
          <ac:chgData name="HADHRI Moncef" userId="895ef482-96ff-4dd4-9c74-0dc92131d96c" providerId="ADAL" clId="{A8C564F2-344E-466C-8CAB-C56DBFCE9D39}" dt="2023-11-27T13:48:55.218" v="177" actId="478"/>
          <ac:spMkLst>
            <pc:docMk/>
            <pc:sldMk cId="2969974098" sldId="546"/>
            <ac:spMk id="2" creationId="{80BB2F09-2BD0-9053-1E25-3912864E7C43}"/>
          </ac:spMkLst>
        </pc:spChg>
      </pc:sldChg>
      <pc:sldChg chg="delSp mod">
        <pc:chgData name="HADHRI Moncef" userId="895ef482-96ff-4dd4-9c74-0dc92131d96c" providerId="ADAL" clId="{A8C564F2-344E-466C-8CAB-C56DBFCE9D39}" dt="2023-11-27T13:48:44.680" v="172" actId="478"/>
        <pc:sldMkLst>
          <pc:docMk/>
          <pc:sldMk cId="4149952134" sldId="547"/>
        </pc:sldMkLst>
        <pc:spChg chg="del">
          <ac:chgData name="HADHRI Moncef" userId="895ef482-96ff-4dd4-9c74-0dc92131d96c" providerId="ADAL" clId="{A8C564F2-344E-466C-8CAB-C56DBFCE9D39}" dt="2023-11-27T13:48:44.680" v="172" actId="478"/>
          <ac:spMkLst>
            <pc:docMk/>
            <pc:sldMk cId="4149952134" sldId="547"/>
            <ac:spMk id="3" creationId="{08BBB768-B915-1227-2439-1DE888F502DE}"/>
          </ac:spMkLst>
        </pc:spChg>
      </pc:sldChg>
      <pc:sldChg chg="delSp mod">
        <pc:chgData name="HADHRI Moncef" userId="895ef482-96ff-4dd4-9c74-0dc92131d96c" providerId="ADAL" clId="{A8C564F2-344E-466C-8CAB-C56DBFCE9D39}" dt="2023-11-27T13:49:03.663" v="179" actId="478"/>
        <pc:sldMkLst>
          <pc:docMk/>
          <pc:sldMk cId="2657724479" sldId="548"/>
        </pc:sldMkLst>
        <pc:spChg chg="del">
          <ac:chgData name="HADHRI Moncef" userId="895ef482-96ff-4dd4-9c74-0dc92131d96c" providerId="ADAL" clId="{A8C564F2-344E-466C-8CAB-C56DBFCE9D39}" dt="2023-11-27T13:49:03.663" v="179" actId="478"/>
          <ac:spMkLst>
            <pc:docMk/>
            <pc:sldMk cId="2657724479" sldId="548"/>
            <ac:spMk id="2" creationId="{81DE72EC-6C10-AA8A-61AB-056F756AA8DB}"/>
          </ac:spMkLst>
        </pc:spChg>
      </pc:sldChg>
      <pc:sldChg chg="delSp mod">
        <pc:chgData name="HADHRI Moncef" userId="895ef482-96ff-4dd4-9c74-0dc92131d96c" providerId="ADAL" clId="{A8C564F2-344E-466C-8CAB-C56DBFCE9D39}" dt="2023-11-27T13:48:49.103" v="175" actId="478"/>
        <pc:sldMkLst>
          <pc:docMk/>
          <pc:sldMk cId="4068901997" sldId="549"/>
        </pc:sldMkLst>
        <pc:spChg chg="del">
          <ac:chgData name="HADHRI Moncef" userId="895ef482-96ff-4dd4-9c74-0dc92131d96c" providerId="ADAL" clId="{A8C564F2-344E-466C-8CAB-C56DBFCE9D39}" dt="2023-11-27T13:48:49.103" v="175" actId="478"/>
          <ac:spMkLst>
            <pc:docMk/>
            <pc:sldMk cId="4068901997" sldId="549"/>
            <ac:spMk id="2" creationId="{C395BA62-477E-2169-951C-4D7D590809DD}"/>
          </ac:spMkLst>
        </pc:spChg>
      </pc:sldChg>
      <pc:sldChg chg="addSp delSp modSp mod">
        <pc:chgData name="HADHRI Moncef" userId="895ef482-96ff-4dd4-9c74-0dc92131d96c" providerId="ADAL" clId="{A8C564F2-344E-466C-8CAB-C56DBFCE9D39}" dt="2023-11-27T14:22:05.079" v="475" actId="20577"/>
        <pc:sldMkLst>
          <pc:docMk/>
          <pc:sldMk cId="2066674344" sldId="2134805399"/>
        </pc:sldMkLst>
        <pc:spChg chg="mod">
          <ac:chgData name="HADHRI Moncef" userId="895ef482-96ff-4dd4-9c74-0dc92131d96c" providerId="ADAL" clId="{A8C564F2-344E-466C-8CAB-C56DBFCE9D39}" dt="2023-11-27T14:22:05.079" v="475" actId="20577"/>
          <ac:spMkLst>
            <pc:docMk/>
            <pc:sldMk cId="2066674344" sldId="2134805399"/>
            <ac:spMk id="2" creationId="{9D442E6A-D5BA-4BAE-84A1-384DE6C05BFB}"/>
          </ac:spMkLst>
        </pc:spChg>
        <pc:spChg chg="del">
          <ac:chgData name="HADHRI Moncef" userId="895ef482-96ff-4dd4-9c74-0dc92131d96c" providerId="ADAL" clId="{A8C564F2-344E-466C-8CAB-C56DBFCE9D39}" dt="2023-11-27T13:43:38.187" v="125" actId="478"/>
          <ac:spMkLst>
            <pc:docMk/>
            <pc:sldMk cId="2066674344" sldId="2134805399"/>
            <ac:spMk id="4" creationId="{3B7D2476-06D5-2AF9-E01F-85B4727395A9}"/>
          </ac:spMkLst>
        </pc:spChg>
        <pc:picChg chg="del">
          <ac:chgData name="HADHRI Moncef" userId="895ef482-96ff-4dd4-9c74-0dc92131d96c" providerId="ADAL" clId="{A8C564F2-344E-466C-8CAB-C56DBFCE9D39}" dt="2023-11-27T13:43:38.621" v="126" actId="478"/>
          <ac:picMkLst>
            <pc:docMk/>
            <pc:sldMk cId="2066674344" sldId="2134805399"/>
            <ac:picMk id="5" creationId="{14315B04-A178-201E-7256-AFF2C7507027}"/>
          </ac:picMkLst>
        </pc:picChg>
        <pc:picChg chg="add mod">
          <ac:chgData name="HADHRI Moncef" userId="895ef482-96ff-4dd4-9c74-0dc92131d96c" providerId="ADAL" clId="{A8C564F2-344E-466C-8CAB-C56DBFCE9D39}" dt="2023-11-27T13:44:02.815" v="132" actId="1076"/>
          <ac:picMkLst>
            <pc:docMk/>
            <pc:sldMk cId="2066674344" sldId="2134805399"/>
            <ac:picMk id="8" creationId="{63CFA2E2-BC1F-510F-57DF-60A049124055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04:47.043" v="301" actId="1076"/>
        <pc:sldMkLst>
          <pc:docMk/>
          <pc:sldMk cId="2170594155" sldId="2134805400"/>
        </pc:sldMkLst>
        <pc:spChg chg="del">
          <ac:chgData name="HADHRI Moncef" userId="895ef482-96ff-4dd4-9c74-0dc92131d96c" providerId="ADAL" clId="{A8C564F2-344E-466C-8CAB-C56DBFCE9D39}" dt="2023-11-27T14:04:37.894" v="296" actId="478"/>
          <ac:spMkLst>
            <pc:docMk/>
            <pc:sldMk cId="2170594155" sldId="2134805400"/>
            <ac:spMk id="3" creationId="{297B4CA3-13C2-0CBD-03FA-F7115DDA3872}"/>
          </ac:spMkLst>
        </pc:spChg>
        <pc:picChg chg="add mod">
          <ac:chgData name="HADHRI Moncef" userId="895ef482-96ff-4dd4-9c74-0dc92131d96c" providerId="ADAL" clId="{A8C564F2-344E-466C-8CAB-C56DBFCE9D39}" dt="2023-11-27T14:04:47.043" v="301" actId="1076"/>
          <ac:picMkLst>
            <pc:docMk/>
            <pc:sldMk cId="2170594155" sldId="2134805400"/>
            <ac:picMk id="5" creationId="{77324628-66A6-FEBB-1113-4AB6F246CE4E}"/>
          </ac:picMkLst>
        </pc:picChg>
        <pc:picChg chg="del">
          <ac:chgData name="HADHRI Moncef" userId="895ef482-96ff-4dd4-9c74-0dc92131d96c" providerId="ADAL" clId="{A8C564F2-344E-466C-8CAB-C56DBFCE9D39}" dt="2023-11-27T14:04:36.737" v="295" actId="478"/>
          <ac:picMkLst>
            <pc:docMk/>
            <pc:sldMk cId="2170594155" sldId="2134805400"/>
            <ac:picMk id="9" creationId="{504F2CBE-1DC4-8759-C38C-4801D0264F42}"/>
          </ac:picMkLst>
        </pc:picChg>
      </pc:sldChg>
      <pc:sldChg chg="addSp delSp modSp mod">
        <pc:chgData name="HADHRI Moncef" userId="895ef482-96ff-4dd4-9c74-0dc92131d96c" providerId="ADAL" clId="{A8C564F2-344E-466C-8CAB-C56DBFCE9D39}" dt="2023-11-27T14:53:34.743" v="542" actId="1076"/>
        <pc:sldMkLst>
          <pc:docMk/>
          <pc:sldMk cId="1990773259" sldId="2134805401"/>
        </pc:sldMkLst>
        <pc:spChg chg="del">
          <ac:chgData name="HADHRI Moncef" userId="895ef482-96ff-4dd4-9c74-0dc92131d96c" providerId="ADAL" clId="{A8C564F2-344E-466C-8CAB-C56DBFCE9D39}" dt="2023-11-27T14:05:09.930" v="303" actId="478"/>
          <ac:spMkLst>
            <pc:docMk/>
            <pc:sldMk cId="1990773259" sldId="2134805401"/>
            <ac:spMk id="3" creationId="{55D32F6B-3918-DA7E-C85B-ECE7134BC95A}"/>
          </ac:spMkLst>
        </pc:spChg>
        <pc:picChg chg="add mod">
          <ac:chgData name="HADHRI Moncef" userId="895ef482-96ff-4dd4-9c74-0dc92131d96c" providerId="ADAL" clId="{A8C564F2-344E-466C-8CAB-C56DBFCE9D39}" dt="2023-11-27T14:53:34.743" v="542" actId="1076"/>
          <ac:picMkLst>
            <pc:docMk/>
            <pc:sldMk cId="1990773259" sldId="2134805401"/>
            <ac:picMk id="5" creationId="{D81157E6-207E-2601-087F-4755147EAD2D}"/>
          </ac:picMkLst>
        </pc:picChg>
        <pc:picChg chg="del">
          <ac:chgData name="HADHRI Moncef" userId="895ef482-96ff-4dd4-9c74-0dc92131d96c" providerId="ADAL" clId="{A8C564F2-344E-466C-8CAB-C56DBFCE9D39}" dt="2023-11-27T14:05:08.900" v="302" actId="478"/>
          <ac:picMkLst>
            <pc:docMk/>
            <pc:sldMk cId="1990773259" sldId="2134805401"/>
            <ac:picMk id="9" creationId="{AD69B42B-6EAF-5976-3B9E-6C7312575103}"/>
          </ac:picMkLst>
        </pc:picChg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2818283143" sldId="2134805402"/>
        </pc:sldMkLst>
      </pc:sldChg>
      <pc:sldChg chg="del">
        <pc:chgData name="HADHRI Moncef" userId="895ef482-96ff-4dd4-9c74-0dc92131d96c" providerId="ADAL" clId="{A8C564F2-344E-466C-8CAB-C56DBFCE9D39}" dt="2023-11-27T14:42:57.071" v="524" actId="47"/>
        <pc:sldMkLst>
          <pc:docMk/>
          <pc:sldMk cId="2844338126" sldId="2134805403"/>
        </pc:sldMkLst>
      </pc:sldChg>
      <pc:sldChg chg="addSp delSp modSp mod">
        <pc:chgData name="HADHRI Moncef" userId="895ef482-96ff-4dd4-9c74-0dc92131d96c" providerId="ADAL" clId="{A8C564F2-344E-466C-8CAB-C56DBFCE9D39}" dt="2023-11-27T14:15:47.408" v="426" actId="1076"/>
        <pc:sldMkLst>
          <pc:docMk/>
          <pc:sldMk cId="579598447" sldId="2134805417"/>
        </pc:sldMkLst>
        <pc:spChg chg="del">
          <ac:chgData name="HADHRI Moncef" userId="895ef482-96ff-4dd4-9c74-0dc92131d96c" providerId="ADAL" clId="{A8C564F2-344E-466C-8CAB-C56DBFCE9D39}" dt="2023-11-27T13:40:02.784" v="73" actId="478"/>
          <ac:spMkLst>
            <pc:docMk/>
            <pc:sldMk cId="579598447" sldId="2134805417"/>
            <ac:spMk id="8" creationId="{66C61C33-E5F8-DC58-52B2-4EEABD1646DC}"/>
          </ac:spMkLst>
        </pc:spChg>
        <pc:picChg chg="del">
          <ac:chgData name="HADHRI Moncef" userId="895ef482-96ff-4dd4-9c74-0dc92131d96c" providerId="ADAL" clId="{A8C564F2-344E-466C-8CAB-C56DBFCE9D39}" dt="2023-11-27T13:40:20.807" v="74" actId="478"/>
          <ac:picMkLst>
            <pc:docMk/>
            <pc:sldMk cId="579598447" sldId="2134805417"/>
            <ac:picMk id="3" creationId="{9D67421D-BCAE-3182-5495-9A72A961CC4E}"/>
          </ac:picMkLst>
        </pc:picChg>
        <pc:picChg chg="add mod">
          <ac:chgData name="HADHRI Moncef" userId="895ef482-96ff-4dd4-9c74-0dc92131d96c" providerId="ADAL" clId="{A8C564F2-344E-466C-8CAB-C56DBFCE9D39}" dt="2023-11-27T14:15:47.408" v="426" actId="1076"/>
          <ac:picMkLst>
            <pc:docMk/>
            <pc:sldMk cId="579598447" sldId="2134805417"/>
            <ac:picMk id="4" creationId="{6320EC4C-0138-0294-B53D-79158DA4E65A}"/>
          </ac:picMkLst>
        </pc:picChg>
      </pc:sldChg>
    </pc:docChg>
  </pc:docChgLst>
  <pc:docChgLst>
    <pc:chgData name="HADHRI Moncef" userId="895ef482-96ff-4dd4-9c74-0dc92131d96c" providerId="ADAL" clId="{5E27FDBC-B5C0-4472-9E3A-FCEC2326CF70}"/>
    <pc:docChg chg="custSel modSld">
      <pc:chgData name="HADHRI Moncef" userId="895ef482-96ff-4dd4-9c74-0dc92131d96c" providerId="ADAL" clId="{5E27FDBC-B5C0-4472-9E3A-FCEC2326CF70}" dt="2023-12-05T13:31:48.938" v="30" actId="13926"/>
      <pc:docMkLst>
        <pc:docMk/>
      </pc:docMkLst>
      <pc:sldChg chg="modSp mod">
        <pc:chgData name="HADHRI Moncef" userId="895ef482-96ff-4dd4-9c74-0dc92131d96c" providerId="ADAL" clId="{5E27FDBC-B5C0-4472-9E3A-FCEC2326CF70}" dt="2023-12-05T13:31:14.575" v="27" actId="20577"/>
        <pc:sldMkLst>
          <pc:docMk/>
          <pc:sldMk cId="435617243" sldId="371"/>
        </pc:sldMkLst>
        <pc:spChg chg="mod">
          <ac:chgData name="HADHRI Moncef" userId="895ef482-96ff-4dd4-9c74-0dc92131d96c" providerId="ADAL" clId="{5E27FDBC-B5C0-4472-9E3A-FCEC2326CF70}" dt="2023-12-05T13:31:14.575" v="27" actId="20577"/>
          <ac:spMkLst>
            <pc:docMk/>
            <pc:sldMk cId="435617243" sldId="371"/>
            <ac:spMk id="7" creationId="{66FB7B9E-1E0F-534F-9A68-2F855FF12DFE}"/>
          </ac:spMkLst>
        </pc:spChg>
      </pc:sldChg>
      <pc:sldChg chg="modSp mod">
        <pc:chgData name="HADHRI Moncef" userId="895ef482-96ff-4dd4-9c74-0dc92131d96c" providerId="ADAL" clId="{5E27FDBC-B5C0-4472-9E3A-FCEC2326CF70}" dt="2023-12-05T13:31:48.938" v="30" actId="13926"/>
        <pc:sldMkLst>
          <pc:docMk/>
          <pc:sldMk cId="1920272730" sldId="372"/>
        </pc:sldMkLst>
        <pc:spChg chg="mod">
          <ac:chgData name="HADHRI Moncef" userId="895ef482-96ff-4dd4-9c74-0dc92131d96c" providerId="ADAL" clId="{5E27FDBC-B5C0-4472-9E3A-FCEC2326CF70}" dt="2023-12-05T13:31:48.938" v="30" actId="13926"/>
          <ac:spMkLst>
            <pc:docMk/>
            <pc:sldMk cId="1920272730" sldId="372"/>
            <ac:spMk id="5" creationId="{300EFDE8-6590-45AD-A3CC-F166D832B8DE}"/>
          </ac:spMkLst>
        </pc:spChg>
      </pc:sldChg>
      <pc:sldChg chg="addSp delSp modSp mod">
        <pc:chgData name="HADHRI Moncef" userId="895ef482-96ff-4dd4-9c74-0dc92131d96c" providerId="ADAL" clId="{5E27FDBC-B5C0-4472-9E3A-FCEC2326CF70}" dt="2023-11-30T11:39:36.047" v="3" actId="1076"/>
        <pc:sldMkLst>
          <pc:docMk/>
          <pc:sldMk cId="3970380033" sldId="529"/>
        </pc:sldMkLst>
        <pc:picChg chg="add mod">
          <ac:chgData name="HADHRI Moncef" userId="895ef482-96ff-4dd4-9c74-0dc92131d96c" providerId="ADAL" clId="{5E27FDBC-B5C0-4472-9E3A-FCEC2326CF70}" dt="2023-11-30T11:39:36.047" v="3" actId="1076"/>
          <ac:picMkLst>
            <pc:docMk/>
            <pc:sldMk cId="3970380033" sldId="529"/>
            <ac:picMk id="2" creationId="{B318B5AD-6F55-81DC-58BC-1D6C0DDD9A0A}"/>
          </ac:picMkLst>
        </pc:picChg>
        <pc:picChg chg="del">
          <ac:chgData name="HADHRI Moncef" userId="895ef482-96ff-4dd4-9c74-0dc92131d96c" providerId="ADAL" clId="{5E27FDBC-B5C0-4472-9E3A-FCEC2326CF70}" dt="2023-11-30T11:39:15.755" v="0" actId="478"/>
          <ac:picMkLst>
            <pc:docMk/>
            <pc:sldMk cId="3970380033" sldId="529"/>
            <ac:picMk id="4" creationId="{77F9740C-FB8C-7387-5A1C-DD047B7CF9B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72F0ECD-7AA1-4B85-9BF1-A4DE3DB65E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22632F-120D-420F-9E66-87EBB79DB5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299197-D86C-4467-ACB9-6E3DCCBBB4E2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2B547-1B00-4B71-8E35-6C41875108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7A15AA-0AA3-4A27-A2DD-FD4E67CE77A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B5F81C-CA8A-4DFE-BD36-748FDEF188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034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EB4EF4-26AE-41A7-8458-9A4ADA0E05F6}" type="datetimeFigureOut">
              <a:rPr lang="en-US" smtClean="0"/>
              <a:t>12/5/2023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DDE42F-E5B7-4D35-9EDA-31840E065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233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931240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698785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108863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053497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412363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830966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Wingdings" panose="05000000000000000000" pitchFamily="2" charset="2"/>
              <a:buChar char="Ø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DE42F-E5B7-4D35-9EDA-31840E065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10148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352277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645609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GB" b="1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1372960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2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75691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773280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3242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3236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65613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2676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64820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919188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sz="1200" b="1" u="sng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14115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121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1674269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06081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0774925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7020896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3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15784302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3845023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303624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132194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15788002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0152977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22857572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3852522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6877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u="none" strike="noStrike" kern="120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4032182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4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7459232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0784563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83901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07882486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534085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6540605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5976151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4401393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23653018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v"/>
            </a:pPr>
            <a:endParaRPr lang="en-GB" sz="1200" b="0" i="1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5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4811434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4613108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6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2882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40449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48336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390135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156E66-97B3-48AE-A1D7-C0617C43C904}" type="slidenum">
              <a:rPr lang="fr-BE" smtClean="0"/>
              <a:t>1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87548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7">
            <a:extLst>
              <a:ext uri="{FF2B5EF4-FFF2-40B4-BE49-F238E27FC236}">
                <a16:creationId xmlns:a16="http://schemas.microsoft.com/office/drawing/2014/main" id="{9EB67688-33ED-3348-BEE9-57061D2087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93" t="8928" r="7565" b="22695"/>
          <a:stretch/>
        </p:blipFill>
        <p:spPr>
          <a:xfrm>
            <a:off x="5215087" y="409093"/>
            <a:ext cx="6908800" cy="5969000"/>
          </a:xfrm>
          <a:prstGeom prst="rect">
            <a:avLst/>
          </a:prstGeom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id="{A1660860-AAD8-7B49-9E3A-F39C51B90C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8383979" cy="6858000"/>
          </a:xfrm>
          <a:prstGeom prst="rect">
            <a:avLst/>
          </a:prstGeom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CC8529C1-13BD-8642-8AEA-659BE509C422}"/>
              </a:ext>
            </a:extLst>
          </p:cNvPr>
          <p:cNvGrpSpPr/>
          <p:nvPr userDrawn="1"/>
        </p:nvGrpSpPr>
        <p:grpSpPr>
          <a:xfrm>
            <a:off x="0" y="0"/>
            <a:ext cx="1733804" cy="6877532"/>
            <a:chOff x="115451" y="0"/>
            <a:chExt cx="1296660" cy="5143500"/>
          </a:xfrm>
        </p:grpSpPr>
        <p:pic>
          <p:nvPicPr>
            <p:cNvPr id="10" name="Picture 12">
              <a:extLst>
                <a:ext uri="{FF2B5EF4-FFF2-40B4-BE49-F238E27FC236}">
                  <a16:creationId xmlns:a16="http://schemas.microsoft.com/office/drawing/2014/main" id="{5425C4CC-36EA-D34B-B5D7-042CDA54E9E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422"/>
            <a:stretch/>
          </p:blipFill>
          <p:spPr>
            <a:xfrm>
              <a:off x="115451" y="0"/>
              <a:ext cx="1296660" cy="5143500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E743725A-C796-514C-89B4-4342D5CCE5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408757" y="2425649"/>
              <a:ext cx="632925" cy="281753"/>
            </a:xfrm>
            <a:prstGeom prst="rect">
              <a:avLst/>
            </a:prstGeom>
          </p:spPr>
        </p:pic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CC823E54-D8E4-41E7-9091-9366A0046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6659302" cy="2387600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EBC4226-917C-4292-B446-C525B4F88B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6659302" cy="165576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400"/>
              </a:spcBef>
              <a:buNone/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A535927-DAB8-438C-A2BA-4F5FCEE60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3999" y="6356350"/>
            <a:ext cx="9399105" cy="365125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e European Chemical Industry Council, AISBL – Ru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elliar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, 40 - 1040 Brussels – Belgium -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ransparency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Register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°64879142323-90</a:t>
            </a:r>
          </a:p>
        </p:txBody>
      </p:sp>
    </p:spTree>
    <p:extLst>
      <p:ext uri="{BB962C8B-B14F-4D97-AF65-F5344CB8AC3E}">
        <p14:creationId xmlns:p14="http://schemas.microsoft.com/office/powerpoint/2010/main" val="4252738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5389" y="1700213"/>
            <a:ext cx="5292724" cy="4068762"/>
          </a:xfrm>
        </p:spPr>
        <p:txBody>
          <a:bodyPr wrap="square" lIns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8" y="1700213"/>
            <a:ext cx="5292725" cy="4068762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27F30670-EAC1-D14C-929C-719F0D9AC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230881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3492500" cy="406876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866BB2C0-F580-417E-950C-0F5A80003C7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5775" y="1700213"/>
            <a:ext cx="3600450" cy="4068762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68BEB849-1749-4F87-AB60-53D1C5B2511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75613" y="1700213"/>
            <a:ext cx="3492500" cy="4068762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83CA85CD-7E43-C34E-84CD-38CD3E591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4289541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3492500" cy="1946996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866BB2C0-F580-417E-950C-0F5A80003C7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5775" y="1700213"/>
            <a:ext cx="3600450" cy="194699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68BEB849-1749-4F87-AB60-53D1C5B2511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75613" y="1700213"/>
            <a:ext cx="3492500" cy="1946996"/>
          </a:xfrm>
        </p:spPr>
        <p:txBody>
          <a:bodyPr/>
          <a:lstStyle/>
          <a:p>
            <a:endParaRPr lang="en-US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0BC40AB-518E-47C1-85C3-F375EDA748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3888" y="3813175"/>
            <a:ext cx="3492500" cy="19558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  <a:endParaRPr lang="en-US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578D9560-0BAB-4859-9465-5F0D743AD88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5775" y="3813175"/>
            <a:ext cx="3600450" cy="194627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  <a:endParaRPr lang="en-US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7B5FF578-7C32-4C7B-9314-767499AE03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075613" y="3813175"/>
            <a:ext cx="3492500" cy="19558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  <a:endParaRPr lang="en-US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543369D6-E27A-D04B-B38C-80F1FDF11E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4899070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6C5D8BB-F7A6-4BD4-B6BE-A35B2413A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4ADBD2-5DC3-4DB0-BF5A-C2A476189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700213"/>
            <a:ext cx="5292726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143E058-30A9-46DA-9342-76BFB66E51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8" y="1700213"/>
            <a:ext cx="5292724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F91AFB1-4F7A-4225-88D5-A3D6552385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50989F3-CBA7-4FCB-970A-732384720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544BEB3-F954-4F4B-BD18-ACB5F337E1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37885EEF-B099-864D-BF4E-9624D87AE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881045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id="{2D94E19D-4310-47ED-8E92-8BC3DC687C9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95775" y="1700213"/>
            <a:ext cx="3600450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6C5D8BB-F7A6-4BD4-B6BE-A35B2413A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4ADBD2-5DC3-4DB0-BF5A-C2A476189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700213"/>
            <a:ext cx="3492500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143E058-30A9-46DA-9342-76BFB66E51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75612" y="1700213"/>
            <a:ext cx="3492499" cy="406876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F91AFB1-4F7A-4225-88D5-A3D6552385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50989F3-CBA7-4FCB-970A-732384720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544BEB3-F954-4F4B-BD18-ACB5F337E1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B7A00E41-3917-BD46-97C4-714EE2DE9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537398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Quote and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>
            <a:extLst>
              <a:ext uri="{FF2B5EF4-FFF2-40B4-BE49-F238E27FC236}">
                <a16:creationId xmlns:a16="http://schemas.microsoft.com/office/drawing/2014/main" id="{B760BE26-BA1F-AB40-944E-7E0838AAAC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3214"/>
            <a:ext cx="12192000" cy="6881214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D5BE2FE-1114-AE48-B1CE-0B6CAA8F0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508"/>
          <a:stretch/>
        </p:blipFill>
        <p:spPr>
          <a:xfrm>
            <a:off x="-63662" y="-24235"/>
            <a:ext cx="1163257" cy="6893810"/>
          </a:xfrm>
          <a:prstGeom prst="rect">
            <a:avLst/>
          </a:prstGeom>
          <a:effectLst>
            <a:outerShdw blurRad="114300" dist="38100" dir="2700000" algn="tl" rotWithShape="0">
              <a:prstClr val="black">
                <a:alpha val="19000"/>
              </a:prstClr>
            </a:outerShdw>
          </a:effectLst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02486979-F147-4AF8-922C-98896A325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867" y="1052513"/>
            <a:ext cx="7260358" cy="3997469"/>
          </a:xfrm>
        </p:spPr>
        <p:txBody>
          <a:bodyPr anchor="t"/>
          <a:lstStyle>
            <a:lvl1pPr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912088-2066-43FD-B453-4A719A6E2A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5868" y="5199856"/>
            <a:ext cx="7260358" cy="1024299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8" name="Image 7" descr="Une image contenant objet, nid d’abeille&#10;&#10;Description générée automatiquement">
            <a:extLst>
              <a:ext uri="{FF2B5EF4-FFF2-40B4-BE49-F238E27FC236}">
                <a16:creationId xmlns:a16="http://schemas.microsoft.com/office/drawing/2014/main" id="{4FCA5A00-0B74-4C62-9F9F-CA2332A0CB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707" y="5927376"/>
            <a:ext cx="1369325" cy="59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499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and Graph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98B762-7389-4B7C-8A9C-04585DFA4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05E5F77-CEF4-4744-ACD0-B272C9C18E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20EFA98-0041-45D1-8E92-F216A959E6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id="{4BA6C3F1-5C13-4DAE-A84F-63C5EC90504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295775" y="1412875"/>
            <a:ext cx="7272338" cy="43561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A7CD079-CE59-4CF1-84ED-C8CD0FD88A1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412875"/>
            <a:ext cx="3492500" cy="43561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43C37DC4-8DB1-B94E-9F9F-02CD92DAD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7500810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2767C972-7052-4ED9-8926-BCC0DAF08F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88A87FB-3EB5-4D88-BD67-B7CFD9543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6A61D8D-75DD-8740-9E8C-08BD06A0B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737753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390154-79BA-4168-8692-9F9C0BDD70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530DF2B-11A7-4C81-816D-C8134B7F2B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2B93F93-DB06-487F-A916-A109A78A27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5C77282-84C3-4777-B7F8-2670BC337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2312860-43C5-43DF-B796-3463F996E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41518FAB-0778-9E41-8E6C-ED80A093A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6595659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DD11A5-1847-4998-9995-AD194BC46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F31A7A4A-D630-43D7-9084-C30646F89D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8FE4B48-4700-4B44-B1AF-290E3CA07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2D775D3-D118-4977-9268-A5E81C1B7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84A9762-7BA7-42A4-82D6-30F0916ACE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276EF85D-A9D4-1A4D-8DA7-D33999966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022899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1">
            <a:extLst>
              <a:ext uri="{FF2B5EF4-FFF2-40B4-BE49-F238E27FC236}">
                <a16:creationId xmlns:a16="http://schemas.microsoft.com/office/drawing/2014/main" id="{0B31FADB-61BE-C44C-A4DF-52F88DDCE5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3214"/>
            <a:ext cx="8364101" cy="6881214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CC823E54-D8E4-41E7-9091-9366A0046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6253655" cy="2387600"/>
          </a:xfrm>
        </p:spPr>
        <p:txBody>
          <a:bodyPr anchor="b"/>
          <a:lstStyle>
            <a:lvl1pPr algn="l">
              <a:defRPr sz="50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EBC4226-917C-4292-B446-C525B4F88B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6253655" cy="165576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400"/>
              </a:spcBef>
              <a:buNone/>
              <a:defRPr sz="24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A535927-DAB8-438C-A2BA-4F5FCEE60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3998" y="6356350"/>
            <a:ext cx="10522227" cy="365125"/>
          </a:xfrm>
          <a:prstGeom prst="rect">
            <a:avLst/>
          </a:prstGeo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he European Chemical Industry Council, AISBL – Ru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elliar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, 40 - 1040 Brussels – Belgium -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ransparency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fr-B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Register</a:t>
            </a:r>
            <a:r>
              <a:rPr kumimoji="0" lang="fr-BE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°64879142323-90</a:t>
            </a:r>
          </a:p>
        </p:txBody>
      </p:sp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A9DD1C05-965A-47AC-8A79-DFF4CC069DE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6922" y="0"/>
            <a:ext cx="3835078" cy="6858000"/>
          </a:xfr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 Click to add a background image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F75A233F-6FA5-8B41-BAF8-2D1B3099D0D5}"/>
              </a:ext>
            </a:extLst>
          </p:cNvPr>
          <p:cNvGrpSpPr/>
          <p:nvPr userDrawn="1"/>
        </p:nvGrpSpPr>
        <p:grpSpPr>
          <a:xfrm>
            <a:off x="0" y="0"/>
            <a:ext cx="1733804" cy="6877532"/>
            <a:chOff x="115451" y="0"/>
            <a:chExt cx="1296660" cy="5143500"/>
          </a:xfrm>
        </p:grpSpPr>
        <p:pic>
          <p:nvPicPr>
            <p:cNvPr id="8" name="Picture 12">
              <a:extLst>
                <a:ext uri="{FF2B5EF4-FFF2-40B4-BE49-F238E27FC236}">
                  <a16:creationId xmlns:a16="http://schemas.microsoft.com/office/drawing/2014/main" id="{57020232-20CE-5744-9122-AF54567FEA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422"/>
            <a:stretch/>
          </p:blipFill>
          <p:spPr>
            <a:xfrm>
              <a:off x="115451" y="0"/>
              <a:ext cx="1296660" cy="5143500"/>
            </a:xfrm>
            <a:prstGeom prst="rect">
              <a:avLst/>
            </a:prstGeom>
          </p:spPr>
        </p:pic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7139A256-A98D-D545-83A1-3005BBABEE8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08757" y="2425649"/>
              <a:ext cx="632925" cy="2817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2323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441066"/>
            <a:ext cx="10212593" cy="9789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73742" y="1538302"/>
            <a:ext cx="11139892" cy="451959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265113" indent="-265113">
              <a:buFont typeface="Arial" panose="020B0604020202020204" pitchFamily="34" charset="0"/>
              <a:buChar char="•"/>
              <a:defRPr/>
            </a:lvl2pPr>
            <a:lvl3pPr marL="538163" indent="-273050">
              <a:buFont typeface="Calibri" panose="020F0502020204030204" pitchFamily="34" charset="0"/>
              <a:buChar char="–"/>
              <a:defRPr/>
            </a:lvl3pPr>
            <a:lvl4pPr marL="809625" indent="-271463">
              <a:buFont typeface="Calibri" panose="020F0502020204030204" pitchFamily="34" charset="0"/>
              <a:buChar char="◦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gray">
          <a:xfrm>
            <a:off x="8969196" y="6466592"/>
            <a:ext cx="2744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900" dirty="0"/>
              <a:t>Page </a:t>
            </a:r>
            <a:fld id="{6984F883-9912-4EFB-8404-2A825476CACA}" type="slidenum">
              <a:rPr lang="fr-BE" sz="900" smtClean="0"/>
              <a:pPr/>
              <a:t>‹#›</a:t>
            </a:fld>
            <a:endParaRPr lang="fr-BE" sz="900" dirty="0"/>
          </a:p>
        </p:txBody>
      </p:sp>
    </p:spTree>
    <p:extLst>
      <p:ext uri="{BB962C8B-B14F-4D97-AF65-F5344CB8AC3E}">
        <p14:creationId xmlns:p14="http://schemas.microsoft.com/office/powerpoint/2010/main" val="2022421996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6250060"/>
      </p:ext>
    </p:extLst>
  </p:cSld>
  <p:clrMapOvr>
    <a:masterClrMapping/>
  </p:clrMapOvr>
  <p:transition>
    <p:rand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5125"/>
            <a:ext cx="10944225" cy="684357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412875"/>
            <a:ext cx="10944225" cy="4356100"/>
          </a:xfrm>
        </p:spPr>
        <p:txBody>
          <a:bodyPr l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2509" y="6549592"/>
            <a:ext cx="2743200" cy="298017"/>
          </a:xfrm>
        </p:spPr>
        <p:txBody>
          <a:bodyPr/>
          <a:lstStyle/>
          <a:p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EE7A716-9932-4A2A-A948-A470E7125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318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1">
            <a:extLst>
              <a:ext uri="{FF2B5EF4-FFF2-40B4-BE49-F238E27FC236}">
                <a16:creationId xmlns:a16="http://schemas.microsoft.com/office/drawing/2014/main" id="{4C682968-718B-7E47-B4F2-A5436018D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3214"/>
            <a:ext cx="12192000" cy="6881214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5125"/>
            <a:ext cx="10944225" cy="68435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412875"/>
            <a:ext cx="10944225" cy="435610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30446B-4C1B-488A-AF43-F715FC8527F7}" type="slidenum">
              <a:rPr lang="en-US" smtClean="0"/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55343FCE-47FF-8F45-9072-719B2EAE7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otes and reference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6498C52-E4EB-C147-9DA9-651CC13938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508"/>
          <a:stretch/>
        </p:blipFill>
        <p:spPr>
          <a:xfrm>
            <a:off x="-63662" y="-24235"/>
            <a:ext cx="1163257" cy="6893810"/>
          </a:xfrm>
          <a:prstGeom prst="rect">
            <a:avLst/>
          </a:prstGeom>
          <a:effectLst>
            <a:outerShdw blurRad="114300" dist="38100" dir="2700000" algn="tl" rotWithShape="0">
              <a:prstClr val="black">
                <a:alpha val="19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60592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700213"/>
            <a:ext cx="10937833" cy="4069998"/>
          </a:xfrm>
        </p:spPr>
        <p:txBody>
          <a:bodyPr wrap="square" lIns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496" y="1087789"/>
            <a:ext cx="10944225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0FB6159D-D73C-0D48-BFD8-8211A02AD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2529862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Photograph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B5787CE3-B537-493F-8DAE-59060428B0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10944224" cy="4068762"/>
          </a:xfrm>
        </p:spPr>
        <p:txBody>
          <a:bodyPr lIns="0"/>
          <a:lstStyle/>
          <a:p>
            <a:endParaRPr lang="en-US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5FAC492-A01A-8C47-A761-1985A6506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3520786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700213"/>
            <a:ext cx="5298929" cy="4069997"/>
          </a:xfrm>
        </p:spPr>
        <p:txBody>
          <a:bodyPr wrap="square" l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FR" dirty="0"/>
              <a:t>Cliquez pour modifier les styles du texte</a:t>
            </a:r>
          </a:p>
          <a:p>
            <a:pPr lvl="0"/>
            <a:r>
              <a:rPr lang="fr-FR" dirty="0"/>
              <a:t>du masque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9184" y="1700213"/>
            <a:ext cx="5298927" cy="4069998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124F2BD1-C7E8-0A48-954A-EDE92A46D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0859190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3" cy="681182"/>
          </a:xfrm>
        </p:spPr>
        <p:txBody>
          <a:bodyPr lIns="0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1700213"/>
            <a:ext cx="5298929" cy="4069998"/>
          </a:xfrm>
        </p:spPr>
        <p:txBody>
          <a:bodyPr wrap="square" lIns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90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9185" y="1700213"/>
            <a:ext cx="5298927" cy="4069998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8B923C92-9075-8B45-BAE4-580685C66A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1457161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625E33-457C-4472-9134-C08A6C26A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368300"/>
            <a:ext cx="10944225" cy="681182"/>
          </a:xfrm>
        </p:spPr>
        <p:txBody>
          <a:bodyPr lIns="0"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650EA20-A465-4389-8F39-BAEC08D5B4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5389" y="1700214"/>
            <a:ext cx="5292722" cy="4069997"/>
          </a:xfrm>
        </p:spPr>
        <p:txBody>
          <a:bodyPr wrap="square" l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FR" dirty="0"/>
              <a:t>Cliquez pour modifier les styles du texte</a:t>
            </a:r>
          </a:p>
          <a:p>
            <a:pPr lvl="0"/>
            <a:r>
              <a:rPr lang="fr-FR" dirty="0"/>
              <a:t>du masque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1B8C7D-BB13-4F0B-AFEF-CA376E89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A15B80-78B6-4897-868D-CF24FE7EF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0446B-4C1B-488A-AF43-F715FC8527F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FAFC911-E47C-41A8-95C9-EE4BD5178E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087789"/>
            <a:ext cx="10944224" cy="27699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  <a:latin typeface="+mn-lt"/>
                <a:ea typeface="Arial Unicode MS" pitchFamily="-65" charset="0"/>
                <a:cs typeface="Arial Unicode MS" pitchFamily="-65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25F065E9-9176-4517-8949-270CDBD6730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9" y="1700213"/>
            <a:ext cx="5292724" cy="4069998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94800549-EDB0-804A-9F6D-D7C7FB455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09083" y="6109218"/>
            <a:ext cx="9818976" cy="336116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sz="1200" dirty="0"/>
              <a:t>Notes and references</a:t>
            </a:r>
          </a:p>
        </p:txBody>
      </p:sp>
    </p:spTree>
    <p:extLst>
      <p:ext uri="{BB962C8B-B14F-4D97-AF65-F5344CB8AC3E}">
        <p14:creationId xmlns:p14="http://schemas.microsoft.com/office/powerpoint/2010/main" val="3830443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7BF30C5-5E32-4496-BFE9-558EF8D7D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65125"/>
            <a:ext cx="10944225" cy="684357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9DCD8C3-7BF7-43B5-B94A-F094507EF0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414606"/>
            <a:ext cx="10944225" cy="435436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 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E9D6721-80CE-44ED-A354-8974317C43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7792" y="6549592"/>
            <a:ext cx="2743200" cy="2980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58CE00A-5D1F-440F-8771-1693A3D811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213" y="6213444"/>
            <a:ext cx="640462" cy="2876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8830446B-4C1B-488A-AF43-F715FC8527F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7690443-161D-BF4C-8C8B-2C071A183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508"/>
          <a:stretch/>
        </p:blipFill>
        <p:spPr>
          <a:xfrm>
            <a:off x="-63662" y="-24235"/>
            <a:ext cx="1163257" cy="6893810"/>
          </a:xfrm>
          <a:prstGeom prst="rect">
            <a:avLst/>
          </a:prstGeom>
          <a:effectLst>
            <a:outerShdw blurRad="114300" dist="38100" dir="2700000" algn="tl" rotWithShape="0">
              <a:prstClr val="black">
                <a:alpha val="19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65347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50" r:id="rId3"/>
    <p:sldLayoutId id="2147483674" r:id="rId4"/>
    <p:sldLayoutId id="2147483664" r:id="rId5"/>
    <p:sldLayoutId id="2147483665" r:id="rId6"/>
    <p:sldLayoutId id="2147483667" r:id="rId7"/>
    <p:sldLayoutId id="2147483666" r:id="rId8"/>
    <p:sldLayoutId id="2147483669" r:id="rId9"/>
    <p:sldLayoutId id="2147483668" r:id="rId10"/>
    <p:sldLayoutId id="2147483670" r:id="rId11"/>
    <p:sldLayoutId id="2147483671" r:id="rId12"/>
    <p:sldLayoutId id="2147483652" r:id="rId13"/>
    <p:sldLayoutId id="2147483672" r:id="rId14"/>
    <p:sldLayoutId id="2147483673" r:id="rId15"/>
    <p:sldLayoutId id="2147483654" r:id="rId16"/>
    <p:sldLayoutId id="2147483655" r:id="rId17"/>
    <p:sldLayoutId id="2147483656" r:id="rId18"/>
    <p:sldLayoutId id="2147483657" r:id="rId19"/>
    <p:sldLayoutId id="2147483675" r:id="rId20"/>
    <p:sldLayoutId id="2147483676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Calibri" panose="020F0502020204030204" pitchFamily="34" charset="0"/>
        <a:buChar char="—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9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pos="3953" userDrawn="1">
          <p15:clr>
            <a:srgbClr val="F26B43"/>
          </p15:clr>
        </p15:guide>
        <p15:guide id="6" pos="7287" userDrawn="1">
          <p15:clr>
            <a:srgbClr val="F26B43"/>
          </p15:clr>
        </p15:guide>
        <p15:guide id="7" orient="horz" pos="232" userDrawn="1">
          <p15:clr>
            <a:srgbClr val="F26B43"/>
          </p15:clr>
        </p15:guide>
        <p15:guide id="8" orient="horz" pos="663" userDrawn="1">
          <p15:clr>
            <a:srgbClr val="F26B43"/>
          </p15:clr>
        </p15:guide>
        <p15:guide id="10" orient="horz" pos="1071" userDrawn="1">
          <p15:clr>
            <a:srgbClr val="F26B43"/>
          </p15:clr>
        </p15:guide>
        <p15:guide id="11" orient="horz" pos="3634" userDrawn="1">
          <p15:clr>
            <a:srgbClr val="F26B43"/>
          </p15:clr>
        </p15:guide>
        <p15:guide id="12" orient="horz" pos="3748" userDrawn="1">
          <p15:clr>
            <a:srgbClr val="F26B43"/>
          </p15:clr>
        </p15:guide>
        <p15:guide id="13" pos="393" userDrawn="1">
          <p15:clr>
            <a:srgbClr val="F26B43"/>
          </p15:clr>
        </p15:guide>
        <p15:guide id="14" pos="2593" userDrawn="1">
          <p15:clr>
            <a:srgbClr val="F26B43"/>
          </p15:clr>
        </p15:guide>
        <p15:guide id="15" pos="2706" userDrawn="1">
          <p15:clr>
            <a:srgbClr val="F26B43"/>
          </p15:clr>
        </p15:guide>
        <p15:guide id="16" pos="4974" userDrawn="1">
          <p15:clr>
            <a:srgbClr val="F26B43"/>
          </p15:clr>
        </p15:guide>
        <p15:guide id="17" pos="50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0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0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cefic.org/about-us/membership/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44591"/>
            <a:ext cx="6659302" cy="2387600"/>
          </a:xfrm>
        </p:spPr>
        <p:txBody>
          <a:bodyPr>
            <a:normAutofit/>
          </a:bodyPr>
          <a:lstStyle/>
          <a:p>
            <a:r>
              <a:rPr lang="fr-BE" sz="3600" b="0" dirty="0"/>
              <a:t>The European Chemical </a:t>
            </a:r>
            <a:r>
              <a:rPr lang="fr-BE" sz="3600" b="0" dirty="0" err="1"/>
              <a:t>industry</a:t>
            </a:r>
            <a:r>
              <a:rPr lang="fr-BE" sz="3600" b="0" dirty="0"/>
              <a:t> </a:t>
            </a:r>
            <a:br>
              <a:rPr lang="fr-BE" b="0" dirty="0"/>
            </a:br>
            <a:r>
              <a:rPr lang="fr-BE" b="0" dirty="0" err="1"/>
              <a:t>Facts</a:t>
            </a:r>
            <a:r>
              <a:rPr lang="fr-BE" b="0" dirty="0"/>
              <a:t> and Figures 2023</a:t>
            </a:r>
            <a:endParaRPr lang="en-US" dirty="0"/>
          </a:p>
        </p:txBody>
      </p:sp>
      <p:sp>
        <p:nvSpPr>
          <p:cNvPr id="7" name="Sous-titre 6">
            <a:extLst>
              <a:ext uri="{FF2B5EF4-FFF2-40B4-BE49-F238E27FC236}">
                <a16:creationId xmlns:a16="http://schemas.microsoft.com/office/drawing/2014/main" id="{66FB7B9E-1E0F-534F-9A68-2F855FF12D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57647"/>
            <a:ext cx="6659302" cy="1655762"/>
          </a:xfrm>
        </p:spPr>
        <p:txBody>
          <a:bodyPr>
            <a:normAutofit/>
          </a:bodyPr>
          <a:lstStyle/>
          <a:p>
            <a:r>
              <a:rPr lang="fr-FR" dirty="0"/>
              <a:t>A vital part of </a:t>
            </a:r>
            <a:r>
              <a:rPr lang="fr-FR" dirty="0" err="1"/>
              <a:t>Europe’s</a:t>
            </a:r>
            <a:r>
              <a:rPr lang="fr-FR" dirty="0"/>
              <a:t> Future</a:t>
            </a:r>
          </a:p>
          <a:p>
            <a:endParaRPr lang="fr-FR" dirty="0"/>
          </a:p>
          <a:p>
            <a:endParaRPr lang="fr-FR" dirty="0"/>
          </a:p>
          <a:p>
            <a:r>
              <a:rPr lang="fr-BE" sz="1800" b="1" dirty="0"/>
              <a:t>05 </a:t>
            </a:r>
            <a:r>
              <a:rPr lang="fr-BE" sz="1800" b="1" dirty="0" err="1"/>
              <a:t>December</a:t>
            </a:r>
            <a:r>
              <a:rPr lang="fr-BE" sz="1800" b="1" dirty="0"/>
              <a:t> </a:t>
            </a:r>
            <a:r>
              <a:rPr lang="en-BE" sz="1800" b="1" dirty="0"/>
              <a:t>2023</a:t>
            </a:r>
          </a:p>
          <a:p>
            <a:endParaRPr lang="fr-FR" dirty="0"/>
          </a:p>
          <a:p>
            <a:endParaRPr lang="fr-FR" dirty="0"/>
          </a:p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en-US" sz="900" dirty="0">
                <a:solidFill>
                  <a:prstClr val="white"/>
                </a:solidFill>
              </a:rPr>
              <a:t>The European Chemical Industry Council, AISBL – Rue </a:t>
            </a:r>
            <a:r>
              <a:rPr lang="en-US" sz="900" dirty="0" err="1">
                <a:solidFill>
                  <a:prstClr val="white"/>
                </a:solidFill>
              </a:rPr>
              <a:t>Belliard</a:t>
            </a:r>
            <a:r>
              <a:rPr lang="en-US" sz="900" dirty="0">
                <a:solidFill>
                  <a:prstClr val="white"/>
                </a:solidFill>
              </a:rPr>
              <a:t>, 40 - 1040 Brussels – Belgium - </a:t>
            </a:r>
            <a:r>
              <a:rPr lang="fr-BE" sz="900" dirty="0" err="1">
                <a:solidFill>
                  <a:prstClr val="white"/>
                </a:solidFill>
              </a:rPr>
              <a:t>Transparency</a:t>
            </a:r>
            <a:r>
              <a:rPr lang="fr-BE" sz="900" dirty="0">
                <a:solidFill>
                  <a:prstClr val="white"/>
                </a:solidFill>
              </a:rPr>
              <a:t> </a:t>
            </a:r>
            <a:r>
              <a:rPr lang="fr-BE" sz="900" dirty="0" err="1">
                <a:solidFill>
                  <a:prstClr val="white"/>
                </a:solidFill>
              </a:rPr>
              <a:t>Register</a:t>
            </a:r>
            <a:r>
              <a:rPr lang="fr-BE" sz="900" dirty="0">
                <a:solidFill>
                  <a:prstClr val="white"/>
                </a:solidFill>
              </a:rPr>
              <a:t> n°64879142323-9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45EA33-173A-784C-954E-F7035124C57F}"/>
              </a:ext>
            </a:extLst>
          </p:cNvPr>
          <p:cNvSpPr/>
          <p:nvPr/>
        </p:nvSpPr>
        <p:spPr>
          <a:xfrm>
            <a:off x="-86810" y="-1778158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To replace the background image: </a:t>
            </a:r>
          </a:p>
          <a:p>
            <a:r>
              <a:rPr lang="en-US" dirty="0">
                <a:solidFill>
                  <a:srgbClr val="FF0000"/>
                </a:solidFill>
              </a:rPr>
              <a:t>1/Go to Slide Master (Menu “View”)</a:t>
            </a:r>
          </a:p>
          <a:p>
            <a:r>
              <a:rPr lang="en-US" dirty="0">
                <a:solidFill>
                  <a:srgbClr val="FF0000"/>
                </a:solidFill>
              </a:rPr>
              <a:t>2/Right-click on the image</a:t>
            </a:r>
          </a:p>
          <a:p>
            <a:r>
              <a:rPr lang="en-US" dirty="0">
                <a:solidFill>
                  <a:srgbClr val="FF0000"/>
                </a:solidFill>
              </a:rPr>
              <a:t>3/Select “Replace image…”</a:t>
            </a:r>
          </a:p>
          <a:p>
            <a:r>
              <a:rPr lang="en-US" dirty="0">
                <a:solidFill>
                  <a:srgbClr val="FF0000"/>
                </a:solidFill>
              </a:rPr>
              <a:t>4/Close the Slide Master</a:t>
            </a:r>
          </a:p>
        </p:txBody>
      </p:sp>
    </p:spTree>
    <p:extLst>
      <p:ext uri="{BB962C8B-B14F-4D97-AF65-F5344CB8AC3E}">
        <p14:creationId xmlns:p14="http://schemas.microsoft.com/office/powerpoint/2010/main" val="4356172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51708" y="269219"/>
            <a:ext cx="10674480" cy="535012"/>
          </a:xfrm>
        </p:spPr>
        <p:txBody>
          <a:bodyPr>
            <a:noAutofit/>
          </a:bodyPr>
          <a:lstStyle/>
          <a:p>
            <a:r>
              <a:rPr lang="en-US" b="0" dirty="0"/>
              <a:t>Nearly one third of EU27 chemical sales is generated from exports</a:t>
            </a:r>
            <a:endParaRPr lang="fr-B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EF954D-7B5F-7306-656B-603D1C8998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9333" y="1007829"/>
            <a:ext cx="8333333" cy="55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34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73742" y="441066"/>
            <a:ext cx="10212593" cy="539435"/>
          </a:xfrm>
        </p:spPr>
        <p:txBody>
          <a:bodyPr>
            <a:noAutofit/>
          </a:bodyPr>
          <a:lstStyle/>
          <a:p>
            <a:r>
              <a:rPr lang="en-GB" b="0" dirty="0"/>
              <a:t>More than half of EU chemicals are supplied to the industry</a:t>
            </a:r>
            <a:endParaRPr lang="fr-B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20EC4C-0138-0294-B53D-79158DA4E6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0091" y="1083137"/>
            <a:ext cx="7543623" cy="5671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59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17" y="1359570"/>
            <a:ext cx="6253655" cy="2387600"/>
          </a:xfrm>
        </p:spPr>
        <p:txBody>
          <a:bodyPr>
            <a:normAutofit/>
          </a:bodyPr>
          <a:lstStyle/>
          <a:p>
            <a:r>
              <a:rPr lang="fr-BE" sz="3600" dirty="0"/>
              <a:t>2. Trade </a:t>
            </a:r>
            <a:r>
              <a:rPr lang="fr-BE" sz="3600" dirty="0" err="1"/>
              <a:t>Development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26123"/>
            <a:ext cx="3835078" cy="6898820"/>
          </a:xfrm>
        </p:spPr>
      </p:pic>
    </p:spTree>
    <p:extLst>
      <p:ext uri="{BB962C8B-B14F-4D97-AF65-F5344CB8AC3E}">
        <p14:creationId xmlns:p14="http://schemas.microsoft.com/office/powerpoint/2010/main" val="10073892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343411"/>
            <a:ext cx="10212593" cy="597621"/>
          </a:xfrm>
        </p:spPr>
        <p:txBody>
          <a:bodyPr>
            <a:noAutofit/>
          </a:bodyPr>
          <a:lstStyle/>
          <a:p>
            <a:r>
              <a:rPr lang="en-US" b="0" dirty="0"/>
              <a:t>EU27 chemical trade surplus reaches a lower level in 2022</a:t>
            </a:r>
            <a:endParaRPr lang="en-GB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2E48D0-BF94-33EB-7345-A3E5CE01D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1833" y="1057901"/>
            <a:ext cx="7913179" cy="580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426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89751" y="350420"/>
            <a:ext cx="11212497" cy="679390"/>
          </a:xfrm>
        </p:spPr>
        <p:txBody>
          <a:bodyPr>
            <a:noAutofit/>
          </a:bodyPr>
          <a:lstStyle/>
          <a:p>
            <a:r>
              <a:rPr lang="en-GB" b="0" dirty="0">
                <a:effectLst/>
                <a:latin typeface="+mn-lt"/>
                <a:ea typeface="Calibri" panose="020F0502020204030204" pitchFamily="34" charset="0"/>
              </a:rPr>
              <a:t>Petrochemicals contributes most to EU27 chemical trade</a:t>
            </a:r>
            <a:endParaRPr lang="fr-BE" b="0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3052D6-7DA0-68BA-D971-736E4510DC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9257" y="1113787"/>
            <a:ext cx="7329976" cy="553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31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2127" y="501904"/>
            <a:ext cx="10212593" cy="535478"/>
          </a:xfrm>
        </p:spPr>
        <p:txBody>
          <a:bodyPr>
            <a:noAutofit/>
          </a:bodyPr>
          <a:lstStyle/>
          <a:p>
            <a:r>
              <a:rPr lang="en-US" b="0" dirty="0"/>
              <a:t>Top 10 EU27 partners account for two thirds of EU27 chemical trade*</a:t>
            </a:r>
            <a:endParaRPr lang="fr-BE" b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318B5AD-6F55-81DC-58BC-1D6C0DDD9A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5681" y="1127590"/>
            <a:ext cx="8109843" cy="5337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8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10214" y="305332"/>
            <a:ext cx="9378760" cy="680089"/>
          </a:xfrm>
        </p:spPr>
        <p:txBody>
          <a:bodyPr>
            <a:noAutofit/>
          </a:bodyPr>
          <a:lstStyle/>
          <a:p>
            <a:r>
              <a:rPr lang="en-GB" b="0" dirty="0"/>
              <a:t>EU27 holds trade surplus with top competing regions</a:t>
            </a:r>
            <a:endParaRPr lang="fr-BE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B25E0B-AC59-0634-19A5-B4AD3C7191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1815" y="1081914"/>
            <a:ext cx="8151148" cy="5601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22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81235" y="272232"/>
            <a:ext cx="10875145" cy="668801"/>
          </a:xfrm>
        </p:spPr>
        <p:txBody>
          <a:bodyPr>
            <a:noAutofit/>
          </a:bodyPr>
          <a:lstStyle/>
          <a:p>
            <a:r>
              <a:rPr lang="en-US" b="0" dirty="0"/>
              <a:t>Consumer chemicals contribute most to EU27 chemical </a:t>
            </a:r>
            <a:br>
              <a:rPr lang="en-US" b="0" dirty="0"/>
            </a:br>
            <a:r>
              <a:rPr lang="en-US" b="0" dirty="0"/>
              <a:t>trade surplus</a:t>
            </a:r>
            <a:endParaRPr lang="fr-B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48FEA2-0CCC-0B56-A64D-FEC362150F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2885" y="941033"/>
            <a:ext cx="8054682" cy="579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2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BE5972B-3F62-4368-8465-B31F86BB49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BE5972B-3F62-4368-8465-B31F86BB4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442E6A-D5BA-4BAE-84A1-384DE6C05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632" y="266613"/>
            <a:ext cx="11221585" cy="592703"/>
          </a:xfrm>
        </p:spPr>
        <p:txBody>
          <a:bodyPr vert="horz" lIns="0" tIns="45720" rIns="91440" bIns="45720" rtlCol="0" anchor="b">
            <a:noAutofit/>
          </a:bodyPr>
          <a:lstStyle/>
          <a:p>
            <a:r>
              <a:rPr lang="en-GB" b="0" dirty="0">
                <a:latin typeface="Calibri" panose="020F0502020204030204" pitchFamily="34" charset="0"/>
                <a:cs typeface="Calibri" panose="020F0502020204030204" pitchFamily="34" charset="0"/>
              </a:rPr>
              <a:t>Chemicals* generates one of the lowest surplus in the European Econom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911EBB-8E49-7730-0BE1-0D38B1F95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30446B-4C1B-488A-AF43-F715FC8527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69747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69747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CFA2E2-BC1F-510F-57DF-60A0491240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9867" y="859316"/>
            <a:ext cx="7733806" cy="5762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6743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0134" y="1368279"/>
            <a:ext cx="7254240" cy="2387600"/>
          </a:xfrm>
        </p:spPr>
        <p:txBody>
          <a:bodyPr>
            <a:normAutofit/>
          </a:bodyPr>
          <a:lstStyle/>
          <a:p>
            <a:r>
              <a:rPr lang="fr-BE" sz="3600" dirty="0"/>
              <a:t>3. </a:t>
            </a:r>
            <a:r>
              <a:rPr lang="fr-BE" sz="3600" dirty="0" err="1"/>
              <a:t>Growth</a:t>
            </a:r>
            <a:r>
              <a:rPr lang="fr-BE" sz="3600" dirty="0"/>
              <a:t> and </a:t>
            </a:r>
            <a:r>
              <a:rPr lang="fr-BE" sz="3600" dirty="0" err="1"/>
              <a:t>Competitiveness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43541"/>
            <a:ext cx="3835078" cy="6908133"/>
          </a:xfrm>
        </p:spPr>
      </p:pic>
    </p:spTree>
    <p:extLst>
      <p:ext uri="{BB962C8B-B14F-4D97-AF65-F5344CB8AC3E}">
        <p14:creationId xmlns:p14="http://schemas.microsoft.com/office/powerpoint/2010/main" val="3100137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17" y="1350861"/>
            <a:ext cx="6253655" cy="2387600"/>
          </a:xfrm>
        </p:spPr>
        <p:txBody>
          <a:bodyPr>
            <a:normAutofit/>
          </a:bodyPr>
          <a:lstStyle/>
          <a:p>
            <a:r>
              <a:rPr lang="fr-BE" sz="3600" b="0" dirty="0"/>
              <a:t>1. Profile - key </a:t>
            </a:r>
            <a:r>
              <a:rPr lang="fr-BE" sz="3600" dirty="0"/>
              <a:t>figures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26124"/>
            <a:ext cx="3835078" cy="6879771"/>
          </a:xfrm>
        </p:spPr>
      </p:pic>
    </p:spTree>
    <p:extLst>
      <p:ext uri="{BB962C8B-B14F-4D97-AF65-F5344CB8AC3E}">
        <p14:creationId xmlns:p14="http://schemas.microsoft.com/office/powerpoint/2010/main" val="22852067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22903" y="327852"/>
            <a:ext cx="10212593" cy="588744"/>
          </a:xfrm>
        </p:spPr>
        <p:txBody>
          <a:bodyPr>
            <a:noAutofit/>
          </a:bodyPr>
          <a:lstStyle/>
          <a:p>
            <a:r>
              <a:rPr lang="en-US" b="0" dirty="0"/>
              <a:t>EU27 chemicals output, far below the previous year’s level</a:t>
            </a:r>
            <a:endParaRPr lang="en-GB" b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38476C-1137-16D5-D0A0-C74019D7DE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6885" y="1085465"/>
            <a:ext cx="7658229" cy="5584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9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8231" y="405555"/>
            <a:ext cx="10212593" cy="544355"/>
          </a:xfrm>
        </p:spPr>
        <p:txBody>
          <a:bodyPr>
            <a:noAutofit/>
          </a:bodyPr>
          <a:lstStyle/>
          <a:p>
            <a:r>
              <a:rPr lang="en-GB" b="0" dirty="0"/>
              <a:t>EU27 capacity utilisation below its long-term average</a:t>
            </a:r>
            <a:endParaRPr lang="en-GB" b="0" dirty="0">
              <a:solidFill>
                <a:srgbClr val="C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3F4999-3332-463F-2884-2584B433A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6120" y="1061877"/>
            <a:ext cx="8176175" cy="5550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06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8215843" y="5326592"/>
            <a:ext cx="397933" cy="26246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6"/>
          <p:cNvSpPr txBox="1">
            <a:spLocks/>
          </p:cNvSpPr>
          <p:nvPr/>
        </p:nvSpPr>
        <p:spPr bwMode="gray">
          <a:xfrm>
            <a:off x="399495" y="441066"/>
            <a:ext cx="11192737" cy="6165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urope at a competitive disadvantage compared to North America </a:t>
            </a:r>
          </a:p>
          <a:p>
            <a:r>
              <a:rPr lang="en-GB" sz="3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Middle East</a:t>
            </a:r>
            <a:endParaRPr lang="en-US" sz="3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fr-BE" sz="3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260464-95BE-9B2E-E80C-AB175F252D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7709" y="1268942"/>
            <a:ext cx="7309394" cy="5361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430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38231" y="172614"/>
            <a:ext cx="10159361" cy="829921"/>
          </a:xfrm>
        </p:spPr>
        <p:txBody>
          <a:bodyPr>
            <a:noAutofit/>
          </a:bodyPr>
          <a:lstStyle/>
          <a:p>
            <a:r>
              <a:rPr lang="en-GB" b="0" dirty="0"/>
              <a:t>Key emerging economies grow faster than the EU27 and the USA</a:t>
            </a:r>
            <a:endParaRPr lang="fr-BE" sz="6000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220EB5-F86F-307E-7CA3-7C90A65702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8063" y="1002535"/>
            <a:ext cx="8615873" cy="571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10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2949" y="1333448"/>
            <a:ext cx="6914604" cy="2387600"/>
          </a:xfrm>
        </p:spPr>
        <p:txBody>
          <a:bodyPr>
            <a:normAutofit/>
          </a:bodyPr>
          <a:lstStyle/>
          <a:p>
            <a:r>
              <a:rPr lang="fr-BE" sz="3600" dirty="0"/>
              <a:t>4. Our contribution to EU </a:t>
            </a:r>
            <a:r>
              <a:rPr lang="fr-BE" sz="3600" dirty="0" err="1"/>
              <a:t>industry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34833"/>
            <a:ext cx="3835078" cy="6907780"/>
          </a:xfrm>
        </p:spPr>
      </p:pic>
    </p:spTree>
    <p:extLst>
      <p:ext uri="{BB962C8B-B14F-4D97-AF65-F5344CB8AC3E}">
        <p14:creationId xmlns:p14="http://schemas.microsoft.com/office/powerpoint/2010/main" val="35343317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538817" y="243908"/>
            <a:ext cx="11336785" cy="741513"/>
          </a:xfrm>
        </p:spPr>
        <p:txBody>
          <a:bodyPr>
            <a:normAutofit/>
          </a:bodyPr>
          <a:lstStyle/>
          <a:p>
            <a:r>
              <a:rPr lang="en-US" b="0" dirty="0"/>
              <a:t>Top 10 sectors account for 70% of total EU27 manufacturing enterprises</a:t>
            </a:r>
            <a:endParaRPr lang="en-US" b="0" dirty="0">
              <a:solidFill>
                <a:srgbClr val="C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D8743C-616F-B508-9474-D22BCF9DD5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1935" y="1154965"/>
            <a:ext cx="7380195" cy="5537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220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733BF-2020-DB2D-D701-8A85F5AB8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90" y="164804"/>
            <a:ext cx="11285724" cy="892816"/>
          </a:xfrm>
        </p:spPr>
        <p:txBody>
          <a:bodyPr>
            <a:normAutofit/>
          </a:bodyPr>
          <a:lstStyle/>
          <a:p>
            <a:r>
              <a:rPr lang="en-US" b="0" dirty="0"/>
              <a:t>Consumer chemicals has the highest number of chemicals enterprises </a:t>
            </a:r>
            <a:endParaRPr lang="en-GB" b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1D94B0-B990-C8E0-A132-001AF2A105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0957" y="1307803"/>
            <a:ext cx="6257069" cy="533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5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/>
          </p:nvPr>
        </p:nvSpPr>
        <p:spPr>
          <a:xfrm>
            <a:off x="541538" y="288136"/>
            <a:ext cx="10972036" cy="562497"/>
          </a:xfrm>
        </p:spPr>
        <p:txBody>
          <a:bodyPr>
            <a:noAutofit/>
          </a:bodyPr>
          <a:lstStyle/>
          <a:p>
            <a:r>
              <a:rPr lang="en-GB" b="0" dirty="0"/>
              <a:t>Chemicals is the fourth-largest producer in EU27 manufacturing sector</a:t>
            </a:r>
            <a:endParaRPr lang="en-GB" b="0" dirty="0">
              <a:solidFill>
                <a:srgbClr val="0096D6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7CEA75-CFDB-4009-9737-7E53202C23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5262" y="1046660"/>
            <a:ext cx="7423976" cy="555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98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568170" y="305264"/>
            <a:ext cx="10342486" cy="576085"/>
          </a:xfrm>
        </p:spPr>
        <p:txBody>
          <a:bodyPr>
            <a:noAutofit/>
          </a:bodyPr>
          <a:lstStyle/>
          <a:p>
            <a:r>
              <a:rPr lang="en-GB" b="0" dirty="0"/>
              <a:t>Chemicals* is the leading sector in terms of added value</a:t>
            </a:r>
            <a:endParaRPr lang="en-GB" b="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4E8930-320C-BA69-30CD-5D6287C29F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6600" y="1164795"/>
            <a:ext cx="7405867" cy="5536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49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9A422980-625F-BA23-4801-1CF91D5E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170" y="95941"/>
            <a:ext cx="10856914" cy="798794"/>
          </a:xfrm>
        </p:spPr>
        <p:txBody>
          <a:bodyPr>
            <a:noAutofit/>
          </a:bodyPr>
          <a:lstStyle/>
          <a:p>
            <a:r>
              <a:rPr lang="en-GB" b="0" dirty="0"/>
              <a:t>Petrochemicals </a:t>
            </a:r>
            <a:r>
              <a:rPr lang="en-US" b="0" dirty="0"/>
              <a:t>has the highest added value in EU27 chemicals sector </a:t>
            </a:r>
            <a:endParaRPr lang="en-GB" b="0" dirty="0">
              <a:solidFill>
                <a:srgbClr val="0096D6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9E85786-0CFC-3EE7-6DF7-1BAD643B37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0107" y="1019539"/>
            <a:ext cx="7631785" cy="574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901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40419" y="304397"/>
            <a:ext cx="10511162" cy="588744"/>
          </a:xfrm>
        </p:spPr>
        <p:txBody>
          <a:bodyPr>
            <a:noAutofit/>
          </a:bodyPr>
          <a:lstStyle/>
          <a:p>
            <a:r>
              <a:rPr lang="en-US" b="0" dirty="0"/>
              <a:t>Europe is the second-largest chemical producer in the world</a:t>
            </a:r>
            <a:endParaRPr lang="fr-BE" b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2DF752-88A5-6959-A1E4-2651B69E83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6234" y="969549"/>
            <a:ext cx="8597235" cy="5649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93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671744" y="245527"/>
            <a:ext cx="10913615" cy="562342"/>
          </a:xfrm>
        </p:spPr>
        <p:txBody>
          <a:bodyPr>
            <a:noAutofit/>
          </a:bodyPr>
          <a:lstStyle/>
          <a:p>
            <a:r>
              <a:rPr lang="en-GB" b="0" dirty="0"/>
              <a:t>Chemicals* contributes 12% of EU27 manufacturing employment</a:t>
            </a:r>
            <a:endParaRPr lang="en-US" b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05CF44-09CE-BC08-FC7D-FE356C2A23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2408" y="906192"/>
            <a:ext cx="7704488" cy="5867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1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541539" y="302041"/>
            <a:ext cx="11327906" cy="603482"/>
          </a:xfrm>
        </p:spPr>
        <p:txBody>
          <a:bodyPr>
            <a:normAutofit fontScale="90000"/>
          </a:bodyPr>
          <a:lstStyle/>
          <a:p>
            <a:r>
              <a:rPr lang="en-US" b="0" dirty="0"/>
              <a:t>Consumer chemicals is the largest employer in the EU27 chemicals sector</a:t>
            </a:r>
            <a:endParaRPr lang="en-GB" b="0" dirty="0">
              <a:solidFill>
                <a:srgbClr val="0096D6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23272D-8B18-5A7D-8FF0-732963FFB1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2964" y="905523"/>
            <a:ext cx="6727448" cy="5855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97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79474" y="343411"/>
            <a:ext cx="9283615" cy="579867"/>
          </a:xfrm>
        </p:spPr>
        <p:txBody>
          <a:bodyPr>
            <a:normAutofit/>
          </a:bodyPr>
          <a:lstStyle/>
          <a:p>
            <a:r>
              <a:rPr lang="en-GB" b="0" dirty="0"/>
              <a:t>EU27 Labour productivity grows at 4.5%</a:t>
            </a:r>
            <a:endParaRPr lang="en-GB" b="0" dirty="0">
              <a:solidFill>
                <a:srgbClr val="0096D6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C03BB7-3AA9-2601-346E-3BE39E6E72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4984" y="923278"/>
            <a:ext cx="7563376" cy="5687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53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619296" y="315175"/>
            <a:ext cx="9918497" cy="550216"/>
          </a:xfrm>
        </p:spPr>
        <p:txBody>
          <a:bodyPr>
            <a:noAutofit/>
          </a:bodyPr>
          <a:lstStyle/>
          <a:p>
            <a:r>
              <a:rPr lang="en-GB" b="0" dirty="0"/>
              <a:t>Chemicals* is the largest investor in EU27 manufacturing sector</a:t>
            </a:r>
            <a:endParaRPr lang="en-GB" b="0" dirty="0">
              <a:solidFill>
                <a:schemeClr val="accent1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F73C9B-D393-672A-5254-56827EA68C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7778" y="933900"/>
            <a:ext cx="7888077" cy="572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541539" y="302041"/>
            <a:ext cx="11327906" cy="603482"/>
          </a:xfrm>
        </p:spPr>
        <p:txBody>
          <a:bodyPr>
            <a:normAutofit/>
          </a:bodyPr>
          <a:lstStyle/>
          <a:p>
            <a:r>
              <a:rPr lang="en-GB" b="0" dirty="0"/>
              <a:t>Petrochemicals is the largest investor in the EU27 chemicals sector</a:t>
            </a:r>
            <a:endParaRPr lang="en-GB" b="0" dirty="0">
              <a:solidFill>
                <a:srgbClr val="0096D6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C391D90-EEA9-F82E-99A6-08E6D97362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0113" y="1003845"/>
            <a:ext cx="6945141" cy="5552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72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2383" y="1385688"/>
            <a:ext cx="6261452" cy="2387600"/>
          </a:xfrm>
        </p:spPr>
        <p:txBody>
          <a:bodyPr>
            <a:normAutofit/>
          </a:bodyPr>
          <a:lstStyle/>
          <a:p>
            <a:r>
              <a:rPr lang="fr-BE" sz="3600" dirty="0"/>
              <a:t>5. Energy </a:t>
            </a:r>
            <a:r>
              <a:rPr lang="fr-BE" sz="3600" dirty="0" err="1"/>
              <a:t>Consumption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34833"/>
            <a:ext cx="3835078" cy="6899045"/>
          </a:xfrm>
        </p:spPr>
      </p:pic>
    </p:spTree>
    <p:extLst>
      <p:ext uri="{BB962C8B-B14F-4D97-AF65-F5344CB8AC3E}">
        <p14:creationId xmlns:p14="http://schemas.microsoft.com/office/powerpoint/2010/main" val="55989754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1794" y="363627"/>
            <a:ext cx="10928411" cy="638908"/>
          </a:xfrm>
        </p:spPr>
        <p:txBody>
          <a:bodyPr>
            <a:noAutofit/>
          </a:bodyPr>
          <a:lstStyle/>
          <a:p>
            <a:r>
              <a:rPr lang="en-US" b="0" dirty="0"/>
              <a:t>EU27 gas and electricity account for two thirds of total energy consumption</a:t>
            </a:r>
            <a:endParaRPr lang="en-GB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AFE34D-CECE-8B49-DA7F-AF1F52F91A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8976" y="1002535"/>
            <a:ext cx="7345489" cy="5519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8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3641" y="378923"/>
            <a:ext cx="10212593" cy="535478"/>
          </a:xfrm>
        </p:spPr>
        <p:txBody>
          <a:bodyPr>
            <a:noAutofit/>
          </a:bodyPr>
          <a:lstStyle/>
          <a:p>
            <a:r>
              <a:rPr lang="en-GB" b="0" dirty="0"/>
              <a:t>EU27 energy consumption falls 20% since 199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43014C-87B4-D74D-DF07-99A9E7AC35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0901" y="914401"/>
            <a:ext cx="8504762" cy="57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81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1498" y="201369"/>
            <a:ext cx="10212593" cy="650887"/>
          </a:xfrm>
        </p:spPr>
        <p:txBody>
          <a:bodyPr>
            <a:normAutofit/>
          </a:bodyPr>
          <a:lstStyle/>
          <a:p>
            <a:r>
              <a:rPr lang="en-GB" b="0" dirty="0"/>
              <a:t>EU27 gas consumption falls 21% since 199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DB0CC7-9FBA-DF7E-DB88-7144573E2D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7901" y="942345"/>
            <a:ext cx="8876190" cy="5714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57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4764" y="343412"/>
            <a:ext cx="10212593" cy="579866"/>
          </a:xfrm>
        </p:spPr>
        <p:txBody>
          <a:bodyPr>
            <a:noAutofit/>
          </a:bodyPr>
          <a:lstStyle/>
          <a:p>
            <a:r>
              <a:rPr lang="en-GB" b="0" dirty="0"/>
              <a:t>EU27 electrical energy consumption falls 14% since 1990</a:t>
            </a:r>
            <a:endParaRPr lang="en-GB" b="0" dirty="0">
              <a:solidFill>
                <a:srgbClr val="0096D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21CEB2-7037-EDC6-1928-7FF59416B0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7477" y="1105634"/>
            <a:ext cx="8914286" cy="55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53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2524" y="137651"/>
            <a:ext cx="11171415" cy="784053"/>
          </a:xfrm>
        </p:spPr>
        <p:txBody>
          <a:bodyPr>
            <a:normAutofit/>
          </a:bodyPr>
          <a:lstStyle/>
          <a:p>
            <a:r>
              <a:rPr lang="en-GB" b="0" dirty="0"/>
              <a:t>China dominates chemical sales globally</a:t>
            </a:r>
            <a:endParaRPr lang="fr-B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89E27A-70F1-07BF-FBAC-E6DE678E1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2807" y="1105395"/>
            <a:ext cx="9051697" cy="5481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46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0274" y="378922"/>
            <a:ext cx="10212593" cy="544355"/>
          </a:xfrm>
        </p:spPr>
        <p:txBody>
          <a:bodyPr>
            <a:noAutofit/>
          </a:bodyPr>
          <a:lstStyle/>
          <a:p>
            <a:r>
              <a:rPr lang="en-GB" b="0" dirty="0"/>
              <a:t>EU27 Total petroleum consumption falls 24% since 199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C1DAA5-5403-C191-85A1-C0691F275C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2387" y="998555"/>
            <a:ext cx="8045932" cy="5404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755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42" y="441066"/>
            <a:ext cx="10212593" cy="553233"/>
          </a:xfrm>
        </p:spPr>
        <p:txBody>
          <a:bodyPr>
            <a:noAutofit/>
          </a:bodyPr>
          <a:lstStyle/>
          <a:p>
            <a:r>
              <a:rPr lang="en-GB" b="0" dirty="0"/>
              <a:t>EU27 solid fuels consumption falls 69% since 199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4F3F264-C082-0406-E9D7-7434CB3F81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3143" y="994299"/>
            <a:ext cx="8885714" cy="56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97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0415" y="251983"/>
            <a:ext cx="10706470" cy="839970"/>
          </a:xfrm>
        </p:spPr>
        <p:txBody>
          <a:bodyPr>
            <a:noAutofit/>
          </a:bodyPr>
          <a:lstStyle/>
          <a:p>
            <a:r>
              <a:rPr lang="en-US" b="0" dirty="0"/>
              <a:t>EU27 Renewable energies consumption more than doubled</a:t>
            </a:r>
            <a:endParaRPr lang="en-GB" sz="3200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69F52B-C67B-7572-4296-4DE2E45B4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4436" y="1091953"/>
            <a:ext cx="8328487" cy="561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9192" y="357176"/>
            <a:ext cx="10830758" cy="770288"/>
          </a:xfrm>
        </p:spPr>
        <p:txBody>
          <a:bodyPr>
            <a:noAutofit/>
          </a:bodyPr>
          <a:lstStyle/>
          <a:p>
            <a:r>
              <a:rPr lang="en-GB" b="0" dirty="0"/>
              <a:t>EU27 specific energy consumption* dropped by 48%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B7E9F8-7E13-73AB-E4AE-AAAF6E712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7839" y="1127464"/>
            <a:ext cx="7967173" cy="557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86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1755" y="331124"/>
            <a:ext cx="10699625" cy="615377"/>
          </a:xfrm>
        </p:spPr>
        <p:txBody>
          <a:bodyPr>
            <a:noAutofit/>
          </a:bodyPr>
          <a:lstStyle/>
          <a:p>
            <a:r>
              <a:rPr lang="en-GB" b="0" dirty="0"/>
              <a:t>EU27 chemicals performance* is slightly higher than overall industr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39E59D-4673-78BF-D475-3D606DAA4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9864" y="1006102"/>
            <a:ext cx="7703405" cy="552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45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67551" y="1342146"/>
            <a:ext cx="5617028" cy="2387600"/>
          </a:xfrm>
        </p:spPr>
        <p:txBody>
          <a:bodyPr>
            <a:normAutofit/>
          </a:bodyPr>
          <a:lstStyle/>
          <a:p>
            <a:r>
              <a:rPr lang="fr-BE" sz="3600" dirty="0"/>
              <a:t>6. Capital and R&amp;I </a:t>
            </a:r>
            <a:r>
              <a:rPr lang="fr-BE" sz="3600" dirty="0" err="1"/>
              <a:t>Spending</a:t>
            </a:r>
            <a:r>
              <a:rPr lang="fr-BE" sz="3600" dirty="0"/>
              <a:t>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52250"/>
            <a:ext cx="3835078" cy="6925044"/>
          </a:xfrm>
        </p:spPr>
      </p:pic>
    </p:spTree>
    <p:extLst>
      <p:ext uri="{BB962C8B-B14F-4D97-AF65-F5344CB8AC3E}">
        <p14:creationId xmlns:p14="http://schemas.microsoft.com/office/powerpoint/2010/main" val="281046907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2660" y="352289"/>
            <a:ext cx="11381173" cy="482212"/>
          </a:xfrm>
        </p:spPr>
        <p:txBody>
          <a:bodyPr>
            <a:noAutofit/>
          </a:bodyPr>
          <a:lstStyle/>
          <a:p>
            <a:r>
              <a:rPr lang="en-US" b="0" dirty="0"/>
              <a:t>EU27 capital spending increased significantly in 2022</a:t>
            </a:r>
            <a:endParaRPr lang="en-GB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5B6C48-AF89-079E-99AA-8E7F6D580C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3171" y="834501"/>
            <a:ext cx="8460150" cy="576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95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044" y="334534"/>
            <a:ext cx="7814534" cy="562111"/>
          </a:xfrm>
        </p:spPr>
        <p:txBody>
          <a:bodyPr>
            <a:noAutofit/>
          </a:bodyPr>
          <a:lstStyle/>
          <a:p>
            <a:r>
              <a:rPr lang="en-GB" b="0" dirty="0"/>
              <a:t>China </a:t>
            </a:r>
            <a:r>
              <a:rPr lang="en-GB" b="0" dirty="0">
                <a:effectLst/>
                <a:ea typeface="Times New Roman" panose="02020603050405020304" pitchFamily="18" charset="0"/>
              </a:rPr>
              <a:t>leads the global chemicals investment</a:t>
            </a:r>
            <a:endParaRPr lang="en-GB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54C6DE-B6E5-56DE-506D-6FBFD81CA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2913" y="1028466"/>
            <a:ext cx="7986173" cy="549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970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le 4"/>
          <p:cNvSpPr>
            <a:spLocks noGrp="1"/>
          </p:cNvSpPr>
          <p:nvPr>
            <p:ph type="title"/>
          </p:nvPr>
        </p:nvSpPr>
        <p:spPr>
          <a:xfrm>
            <a:off x="683581" y="319796"/>
            <a:ext cx="11354540" cy="541337"/>
          </a:xfrm>
        </p:spPr>
        <p:txBody>
          <a:bodyPr>
            <a:noAutofit/>
          </a:bodyPr>
          <a:lstStyle/>
          <a:p>
            <a:r>
              <a:rPr lang="en-GB" b="0" dirty="0"/>
              <a:t>Hight capital intensity in the EU27 chemical sector</a:t>
            </a:r>
            <a:endParaRPr lang="en-GB" b="0" dirty="0">
              <a:solidFill>
                <a:srgbClr val="0096D6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CC5A0A-9023-EFC0-754F-531477E8D6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0372" y="947444"/>
            <a:ext cx="8123107" cy="582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25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603" y="396677"/>
            <a:ext cx="9978500" cy="535478"/>
          </a:xfrm>
        </p:spPr>
        <p:txBody>
          <a:bodyPr>
            <a:noAutofit/>
          </a:bodyPr>
          <a:lstStyle/>
          <a:p>
            <a:r>
              <a:rPr lang="en-GB" b="0" dirty="0"/>
              <a:t>EU27 capital intensity below China and India econom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6F1DB4-762F-A355-76AC-9826003565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7880" y="932155"/>
            <a:ext cx="8125793" cy="574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29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67045" y="233641"/>
            <a:ext cx="9453499" cy="754577"/>
          </a:xfrm>
        </p:spPr>
        <p:txBody>
          <a:bodyPr>
            <a:noAutofit/>
          </a:bodyPr>
          <a:lstStyle/>
          <a:p>
            <a:r>
              <a:rPr lang="en-GB" b="0" dirty="0"/>
              <a:t>EU27 market share dropped significantly</a:t>
            </a:r>
            <a:endParaRPr lang="fr-BE" b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EA83F9-9CE2-320D-4A67-D0FBBD67D4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2469" y="1142474"/>
            <a:ext cx="7617466" cy="5481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00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928" y="260516"/>
            <a:ext cx="11310150" cy="677520"/>
          </a:xfrm>
        </p:spPr>
        <p:txBody>
          <a:bodyPr>
            <a:noAutofit/>
          </a:bodyPr>
          <a:lstStyle/>
          <a:p>
            <a:r>
              <a:rPr lang="en-US" b="0" dirty="0"/>
              <a:t>EU27 loses more than 50% of its original market share</a:t>
            </a:r>
            <a:endParaRPr lang="en-GB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FFFE50-CAD1-8208-7422-9BDF185B98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0033" y="1031342"/>
            <a:ext cx="7714310" cy="5625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73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3221" y="222107"/>
            <a:ext cx="10736409" cy="739664"/>
          </a:xfrm>
        </p:spPr>
        <p:txBody>
          <a:bodyPr>
            <a:noAutofit/>
          </a:bodyPr>
          <a:lstStyle/>
          <a:p>
            <a:r>
              <a:rPr lang="en-GB" b="0" dirty="0"/>
              <a:t>Decreasing share of chemicals capital spending for the EU27</a:t>
            </a:r>
            <a:endParaRPr lang="fr-B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D37CF3-EE59-70BD-3A27-877F0D99ED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244" y="961771"/>
            <a:ext cx="7194588" cy="5822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59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315" y="290145"/>
            <a:ext cx="10306975" cy="597621"/>
          </a:xfrm>
        </p:spPr>
        <p:txBody>
          <a:bodyPr>
            <a:noAutofit/>
          </a:bodyPr>
          <a:lstStyle/>
          <a:p>
            <a:r>
              <a:rPr lang="en-GB" b="0" dirty="0"/>
              <a:t>EU27 R&amp;I spending reaches the highest level in 202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205A16-1A08-2D0A-207E-2B356BFC4E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0931" y="887766"/>
            <a:ext cx="7950842" cy="5849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94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2655" y="236879"/>
            <a:ext cx="9995581" cy="588744"/>
          </a:xfrm>
        </p:spPr>
        <p:txBody>
          <a:bodyPr>
            <a:noAutofit/>
          </a:bodyPr>
          <a:lstStyle/>
          <a:p>
            <a:r>
              <a:rPr lang="en-GB" b="0" dirty="0"/>
              <a:t>EU27 is the one of the third-largest R&amp;I investor in the worl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B4D05E-0CD9-6C04-4E34-95D15301E8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6194" y="879275"/>
            <a:ext cx="8519611" cy="574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93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8130" y="299664"/>
            <a:ext cx="11082639" cy="721909"/>
          </a:xfrm>
        </p:spPr>
        <p:txBody>
          <a:bodyPr>
            <a:noAutofit/>
          </a:bodyPr>
          <a:lstStyle/>
          <a:p>
            <a:r>
              <a:rPr lang="en-GB" b="0" dirty="0"/>
              <a:t>Decreasing share of R&amp;I spending for the EU27 and Japan</a:t>
            </a:r>
            <a:endParaRPr lang="en-US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412D37-094E-1408-F3DE-DC6DADF797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7351" y="1096218"/>
            <a:ext cx="6928137" cy="566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20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1424" y="1359567"/>
            <a:ext cx="6148246" cy="2387600"/>
          </a:xfrm>
        </p:spPr>
        <p:txBody>
          <a:bodyPr>
            <a:normAutofit/>
          </a:bodyPr>
          <a:lstStyle/>
          <a:p>
            <a:r>
              <a:rPr lang="fr-BE" sz="3600" dirty="0"/>
              <a:t>7. </a:t>
            </a:r>
            <a:r>
              <a:rPr lang="fr-BE" sz="3600" dirty="0" err="1"/>
              <a:t>Environmental</a:t>
            </a:r>
            <a:r>
              <a:rPr lang="fr-BE" sz="3600" dirty="0"/>
              <a:t> Performance </a:t>
            </a:r>
            <a:endParaRPr lang="en-US" sz="36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34832"/>
            <a:ext cx="3835078" cy="6916335"/>
          </a:xfrm>
        </p:spPr>
      </p:pic>
    </p:spTree>
    <p:extLst>
      <p:ext uri="{BB962C8B-B14F-4D97-AF65-F5344CB8AC3E}">
        <p14:creationId xmlns:p14="http://schemas.microsoft.com/office/powerpoint/2010/main" val="387954954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504" y="302461"/>
            <a:ext cx="9781973" cy="544355"/>
          </a:xfrm>
        </p:spPr>
        <p:txBody>
          <a:bodyPr>
            <a:noAutofit/>
          </a:bodyPr>
          <a:lstStyle/>
          <a:p>
            <a:r>
              <a:rPr lang="en-US" b="0" dirty="0"/>
              <a:t>EU27 scope 1 GHG emissions fall 52% since 1990</a:t>
            </a:r>
            <a:endParaRPr lang="en-GB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324628-66A6-FEBB-1113-4AB6F246CE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6567" y="846816"/>
            <a:ext cx="7948527" cy="560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59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204" y="188140"/>
            <a:ext cx="10697591" cy="686398"/>
          </a:xfrm>
        </p:spPr>
        <p:txBody>
          <a:bodyPr>
            <a:noAutofit/>
          </a:bodyPr>
          <a:lstStyle/>
          <a:p>
            <a:r>
              <a:rPr lang="en-GB" sz="2800" b="0" dirty="0"/>
              <a:t>EU27 scope 1 GHG emissions* fall by 133 million tonnes (CO2) since 1990</a:t>
            </a:r>
            <a:endParaRPr lang="en-GB" sz="3200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1157E6-207E-2601-087F-4755147EAD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7030" y="990466"/>
            <a:ext cx="7401370" cy="5867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77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948" y="319146"/>
            <a:ext cx="11008310" cy="595254"/>
          </a:xfrm>
        </p:spPr>
        <p:txBody>
          <a:bodyPr>
            <a:noAutofit/>
          </a:bodyPr>
          <a:lstStyle/>
          <a:p>
            <a:r>
              <a:rPr lang="en-US" b="0" dirty="0"/>
              <a:t>EU27 chemical production and greenhouse gas emissions decoup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951C3F-F847-C4EB-AFE8-42CA93A8EF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3948" y="914400"/>
            <a:ext cx="7974310" cy="5699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721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7048" y="343412"/>
            <a:ext cx="10555550" cy="535478"/>
          </a:xfrm>
        </p:spPr>
        <p:txBody>
          <a:bodyPr>
            <a:noAutofit/>
          </a:bodyPr>
          <a:lstStyle/>
          <a:p>
            <a:r>
              <a:rPr lang="en-US" b="0" dirty="0"/>
              <a:t>EU27 greenhouse gas intensity plummets significantly since 199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957F43-BE16-F45D-7BF3-C19BB3F6E5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8396" y="953535"/>
            <a:ext cx="7679333" cy="5767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61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48071" y="441066"/>
            <a:ext cx="10928412" cy="544355"/>
          </a:xfrm>
        </p:spPr>
        <p:txBody>
          <a:bodyPr>
            <a:noAutofit/>
          </a:bodyPr>
          <a:lstStyle/>
          <a:p>
            <a:r>
              <a:rPr lang="en-US" sz="30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Over 20 years, the world market share of EU27 chemical sales </a:t>
            </a:r>
            <a:br>
              <a:rPr lang="en-US" sz="30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30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rops sharply</a:t>
            </a:r>
            <a:endParaRPr lang="fr-B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8FAC5F-D963-2351-67B6-CA6AFBEB96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3231" y="1168131"/>
            <a:ext cx="8258092" cy="5689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2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826" y="262535"/>
            <a:ext cx="10706470" cy="740000"/>
          </a:xfrm>
        </p:spPr>
        <p:txBody>
          <a:bodyPr>
            <a:noAutofit/>
          </a:bodyPr>
          <a:lstStyle/>
          <a:p>
            <a:r>
              <a:rPr lang="en-US" b="0" dirty="0"/>
              <a:t>Total number of accidents dropped by over one third in the EU27 chemical industry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A2AE96-C948-8161-DEC2-F8F1902597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5059" y="1067487"/>
            <a:ext cx="7783970" cy="552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7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77418E4-1C13-4BA5-9F99-F8304D2A21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30815" y="570530"/>
            <a:ext cx="3118759" cy="1370070"/>
          </a:xfrm>
        </p:spPr>
        <p:txBody>
          <a:bodyPr>
            <a:noAutofit/>
          </a:bodyPr>
          <a:lstStyle/>
          <a:p>
            <a:br>
              <a:rPr lang="en-GB" sz="1400" b="1" dirty="0"/>
            </a:br>
            <a:br>
              <a:rPr lang="en-GB" sz="1400" b="1" dirty="0"/>
            </a:br>
            <a:br>
              <a:rPr lang="en-GB" sz="1400" b="1" dirty="0"/>
            </a:br>
            <a:br>
              <a:rPr lang="en-GB" sz="1400" b="1" dirty="0"/>
            </a:br>
            <a:r>
              <a:rPr lang="en-GB" sz="1400" b="1" dirty="0"/>
              <a:t>Contact : </a:t>
            </a:r>
            <a:br>
              <a:rPr lang="en-GB" sz="1400" b="1" dirty="0"/>
            </a:br>
            <a:r>
              <a:rPr lang="en-GB" sz="1400" b="1" dirty="0"/>
              <a:t>Dr Moncef HADHRI</a:t>
            </a:r>
            <a:br>
              <a:rPr lang="en-GB" sz="1400" b="1" dirty="0"/>
            </a:br>
            <a:r>
              <a:rPr lang="en-GB" sz="1400" b="1" dirty="0"/>
              <a:t>Cefic Industrial Policy - Economic Affairs</a:t>
            </a:r>
            <a:br>
              <a:rPr lang="en-GB" sz="1400" b="1" dirty="0"/>
            </a:br>
            <a:r>
              <a:rPr lang="en-GB" sz="1400" b="1" dirty="0"/>
              <a:t>mha@cefic.be</a:t>
            </a:r>
            <a:br>
              <a:rPr lang="en-GB" sz="1400" dirty="0"/>
            </a:br>
            <a:br>
              <a:rPr lang="en-US" sz="1400" dirty="0"/>
            </a:br>
            <a:endParaRPr lang="en-US" sz="12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0269C9-074F-4983-8AFC-40E93D346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/>
              <a:t>The European Chemical Industry Council, AISBL – Rue </a:t>
            </a:r>
            <a:r>
              <a:rPr lang="en-US" sz="900" dirty="0" err="1"/>
              <a:t>Belliard</a:t>
            </a:r>
            <a:r>
              <a:rPr lang="en-US" sz="900" dirty="0"/>
              <a:t>, 40 - 1040 Brussels – Belgium - </a:t>
            </a:r>
            <a:r>
              <a:rPr lang="fr-BE" sz="900" dirty="0" err="1"/>
              <a:t>Transparency</a:t>
            </a:r>
            <a:r>
              <a:rPr lang="fr-BE" sz="900" dirty="0"/>
              <a:t> </a:t>
            </a:r>
            <a:r>
              <a:rPr lang="fr-BE" sz="900" dirty="0" err="1"/>
              <a:t>Register</a:t>
            </a:r>
            <a:r>
              <a:rPr lang="fr-BE" sz="900" dirty="0"/>
              <a:t> n°64879142323-90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427EE7F-0DDB-4C71-8B1A-D5C44E3C15D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6922" y="-26124"/>
            <a:ext cx="3835078" cy="6879771"/>
          </a:xfrm>
        </p:spPr>
      </p:pic>
      <p:sp>
        <p:nvSpPr>
          <p:cNvPr id="5" name="Titre 1">
            <a:extLst>
              <a:ext uri="{FF2B5EF4-FFF2-40B4-BE49-F238E27FC236}">
                <a16:creationId xmlns:a16="http://schemas.microsoft.com/office/drawing/2014/main" id="{300EFDE8-6590-45AD-A3CC-F166D832B8DE}"/>
              </a:ext>
            </a:extLst>
          </p:cNvPr>
          <p:cNvSpPr txBox="1">
            <a:spLocks/>
          </p:cNvSpPr>
          <p:nvPr/>
        </p:nvSpPr>
        <p:spPr>
          <a:xfrm>
            <a:off x="4885519" y="3056716"/>
            <a:ext cx="3056707" cy="3255464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br>
              <a:rPr lang="en-US" sz="1400" dirty="0"/>
            </a:br>
            <a:br>
              <a:rPr lang="en-US" sz="1400" dirty="0"/>
            </a:br>
            <a:r>
              <a:rPr lang="en-US" sz="1200" b="1" dirty="0"/>
              <a:t>About Cefic</a:t>
            </a:r>
          </a:p>
          <a:p>
            <a:r>
              <a:rPr lang="en-US" sz="1000" dirty="0"/>
              <a:t>Cefic, the European Chemical Industry Council, founded in 1972, is the voice of large, medium and small chemical companies across Europe, which provide 1.1 million jobs and account for 14% of world chemicals production.  Cefic members form one of the most active networks of the business community, complemented by partnerships with industry associations representing various sectors in the value chain.  </a:t>
            </a:r>
            <a:r>
              <a:rPr lang="en-US" sz="1000" dirty="0">
                <a:hlinkClick r:id="rId3"/>
              </a:rPr>
              <a:t>A full list of our members </a:t>
            </a:r>
            <a:r>
              <a:rPr lang="en-US" sz="1000" dirty="0"/>
              <a:t>is available on the Cefic website.</a:t>
            </a:r>
            <a:br>
              <a:rPr lang="en-US" sz="1000" dirty="0"/>
            </a:br>
            <a:r>
              <a:rPr lang="en-US" sz="1000" dirty="0"/>
              <a:t> </a:t>
            </a:r>
            <a:br>
              <a:rPr lang="en-US" sz="1000" dirty="0"/>
            </a:br>
            <a:r>
              <a:rPr lang="en-US" sz="1000" dirty="0"/>
              <a:t>Cefic is an active member of the International Council of Chemical Associations (ICCA), which represents</a:t>
            </a:r>
            <a:br>
              <a:rPr lang="en-US" sz="1000" dirty="0"/>
            </a:br>
            <a:r>
              <a:rPr lang="en-US" sz="1000" dirty="0"/>
              <a:t>chemical manufacturers and producers all over the world and seeks to strengthen existing cooperation with global </a:t>
            </a:r>
            <a:r>
              <a:rPr lang="en-US" sz="1000" dirty="0" err="1"/>
              <a:t>organisations</a:t>
            </a:r>
            <a:r>
              <a:rPr lang="en-US" sz="1000" dirty="0"/>
              <a:t> such as UNEP and the OECD to improve chemicals management worldwide</a:t>
            </a:r>
          </a:p>
        </p:txBody>
      </p:sp>
    </p:spTree>
    <p:extLst>
      <p:ext uri="{BB962C8B-B14F-4D97-AF65-F5344CB8AC3E}">
        <p14:creationId xmlns:p14="http://schemas.microsoft.com/office/powerpoint/2010/main" val="19202727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36117" y="396473"/>
            <a:ext cx="10490071" cy="570988"/>
          </a:xfrm>
        </p:spPr>
        <p:txBody>
          <a:bodyPr>
            <a:noAutofit/>
          </a:bodyPr>
          <a:lstStyle/>
          <a:p>
            <a:r>
              <a:rPr lang="en-US" b="0" dirty="0"/>
              <a:t>Petrochemicals account for more than one fourth of EU27 </a:t>
            </a:r>
            <a:br>
              <a:rPr lang="en-US" b="0" dirty="0"/>
            </a:br>
            <a:r>
              <a:rPr lang="en-US" b="0" dirty="0"/>
              <a:t>chemical sales</a:t>
            </a:r>
            <a:endParaRPr lang="fr-BE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1273BF-963A-481C-C619-6277E93A2A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1628" y="967461"/>
            <a:ext cx="9619048" cy="572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6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9288" y="163432"/>
            <a:ext cx="10844231" cy="732112"/>
          </a:xfrm>
        </p:spPr>
        <p:txBody>
          <a:bodyPr>
            <a:noAutofit/>
          </a:bodyPr>
          <a:lstStyle/>
          <a:p>
            <a:r>
              <a:rPr lang="en-GB" b="0" dirty="0"/>
              <a:t>Two thirds of EU27 chemical sales generated in four Member States</a:t>
            </a:r>
            <a:endParaRPr lang="fr-BE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A1DD07-8A95-A20C-C308-C15934A4DB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2355" y="895544"/>
            <a:ext cx="8038095" cy="56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12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73741" y="352290"/>
            <a:ext cx="11180294" cy="615377"/>
          </a:xfrm>
        </p:spPr>
        <p:txBody>
          <a:bodyPr>
            <a:noAutofit/>
          </a:bodyPr>
          <a:lstStyle/>
          <a:p>
            <a:r>
              <a:rPr lang="en-US" b="0" dirty="0"/>
              <a:t>EU27 chemical sales significantly increased in 2022</a:t>
            </a:r>
            <a:endParaRPr lang="fr-BE" b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A67A49B-F21B-D972-A8D6-151789FD1E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6552" y="967667"/>
            <a:ext cx="8718895" cy="5735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79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cefic2021">
      <a:dk1>
        <a:sysClr val="windowText" lastClr="000000"/>
      </a:dk1>
      <a:lt1>
        <a:sysClr val="window" lastClr="FFFFFF"/>
      </a:lt1>
      <a:dk2>
        <a:srgbClr val="69747A"/>
      </a:dk2>
      <a:lt2>
        <a:srgbClr val="FFFFFF"/>
      </a:lt2>
      <a:accent1>
        <a:srgbClr val="5BBAA5"/>
      </a:accent1>
      <a:accent2>
        <a:srgbClr val="005CAB"/>
      </a:accent2>
      <a:accent3>
        <a:srgbClr val="F47B20"/>
      </a:accent3>
      <a:accent4>
        <a:srgbClr val="59A18C"/>
      </a:accent4>
      <a:accent5>
        <a:srgbClr val="0076C0"/>
      </a:accent5>
      <a:accent6>
        <a:srgbClr val="79B778"/>
      </a:accent6>
      <a:hlink>
        <a:srgbClr val="92C039"/>
      </a:hlink>
      <a:folHlink>
        <a:srgbClr val="92C039"/>
      </a:folHlink>
    </a:clrScheme>
    <a:fontScheme name="Personnalisé 1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CEFIC_Doc" ma:contentTypeID="0x010100CC1452B3D32F8440B544A8D906354C2B00891CC1E628F8694CBBE43AF155309C0A" ma:contentTypeVersion="53" ma:contentTypeDescription="" ma:contentTypeScope="" ma:versionID="4e925998fe230532d638f25ae5fc4028">
  <xsd:schema xmlns:xsd="http://www.w3.org/2001/XMLSchema" xmlns:xs="http://www.w3.org/2001/XMLSchema" xmlns:p="http://schemas.microsoft.com/office/2006/metadata/properties" xmlns:ns2="063f955d-52cd-40b2-80f5-70171ea2be06" targetNamespace="http://schemas.microsoft.com/office/2006/metadata/properties" ma:root="true" ma:fieldsID="ef6136cb0dfe8dfee43645633dbba991" ns2:_="">
    <xsd:import namespace="063f955d-52cd-40b2-80f5-70171ea2be06"/>
    <xsd:element name="properties">
      <xsd:complexType>
        <xsd:sequence>
          <xsd:element name="documentManagement">
            <xsd:complexType>
              <xsd:all>
                <xsd:element ref="ns2:mf725ba62fce447fb9bbcc06eaaae514" minOccurs="0"/>
                <xsd:element ref="ns2:TaxCatchAll" minOccurs="0"/>
                <xsd:element ref="ns2:TaxCatchAllLabel" minOccurs="0"/>
                <xsd:element ref="ns2:c48dca2c4d3f41848d6c6bfa73049c67" minOccurs="0"/>
                <xsd:element ref="ns2:Document_comments" minOccurs="0"/>
                <xsd:element ref="ns2:Expiration_date" minOccurs="0"/>
                <xsd:element ref="ns2:AI__x0025__Duplicate_candidate" minOccurs="0"/>
                <xsd:element ref="ns2:AI__x0025__Relevance_A" minOccurs="0"/>
                <xsd:element ref="ns2:AI__x0025__Relevance_B" minOccurs="0"/>
                <xsd:element ref="ns2:AI_Batch_reference" minOccurs="0"/>
                <xsd:element ref="ns2:AI_Classification_A" minOccurs="0"/>
                <xsd:element ref="ns2:AI_Classification_B" minOccurs="0"/>
                <xsd:element ref="ns2:AI_Classification_has_been_requested" minOccurs="0"/>
                <xsd:element ref="ns2:AI_Cluster" minOccurs="0"/>
                <xsd:element ref="ns2:AI_Duplicate_status" minOccurs="0"/>
                <xsd:element ref="ns2:AI_Initial_directory" minOccurs="0"/>
                <xsd:element ref="ns2:AI_Labelling_error" minOccurs="0"/>
                <xsd:element ref="ns2:f56f3b9b03444df3b2ef6aaf7c0cbaa6" minOccurs="0"/>
                <xsd:element ref="ns2:AI_Requested__x0020_manual_classification" minOccurs="0"/>
                <xsd:element ref="ns2:AI_SHP_Reference" minOccurs="0"/>
                <xsd:element ref="ns2:AI_Waiting_for_auto_classification" minOccurs="0"/>
                <xsd:element ref="ns2:i3815fca76db49ac95ea420f7cf911c6" minOccurs="0"/>
                <xsd:element ref="ns2:e88422c06c974aee9bbadae853be99f3" minOccurs="0"/>
                <xsd:element ref="ns2:Context" minOccurs="0"/>
                <xsd:element ref="ns2:Doc_Language" minOccurs="0"/>
                <xsd:element ref="ns2:AI_AIDB_status_TXT" minOccurs="0"/>
                <xsd:element ref="ns2:jdb7fc4e974a45188d91caad41c9ef17" minOccurs="0"/>
                <xsd:element ref="ns2:AI_AIDB_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3f955d-52cd-40b2-80f5-70171ea2be06" elementFormDefault="qualified">
    <xsd:import namespace="http://schemas.microsoft.com/office/2006/documentManagement/types"/>
    <xsd:import namespace="http://schemas.microsoft.com/office/infopath/2007/PartnerControls"/>
    <xsd:element name="mf725ba62fce447fb9bbcc06eaaae514" ma:index="8" ma:taxonomy="true" ma:internalName="mf725ba62fce447fb9bbcc06eaaae514" ma:taxonomyFieldName="Document_status" ma:displayName="Doc status" ma:default="7;#Being worked on|61239119-fb6b-4477-99a9-0d9e8dd1a49e" ma:fieldId="{6f725ba6-2fce-447f-b9bb-cc06eaaae514}" ma:sspId="51ab7c41-b059-4fba-bc0c-4efa77139169" ma:termSetId="20c9d287-53e8-4803-b29d-4667889bb30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1e4a6c7-ffa3-4f74-9dc2-2d528674baa1}" ma:internalName="TaxCatchAll" ma:showField="CatchAllData" ma:web="4c0c3a75-ac74-4d90-8478-8c4d54dc6d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1e4a6c7-ffa3-4f74-9dc2-2d528674baa1}" ma:internalName="TaxCatchAllLabel" ma:readOnly="true" ma:showField="CatchAllDataLabel" ma:web="4c0c3a75-ac74-4d90-8478-8c4d54dc6d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48dca2c4d3f41848d6c6bfa73049c67" ma:index="12" ma:taxonomy="true" ma:internalName="c48dca2c4d3f41848d6c6bfa73049c67" ma:taxonomyFieldName="Document_Type" ma:displayName="Doc type" ma:readOnly="false" ma:default="9;#NA|985ce182-55de-4937-95b7-506adedf733b" ma:fieldId="{c48dca2c-4d3f-4184-8d6c-6bfa73049c67}" ma:sspId="51ab7c41-b059-4fba-bc0c-4efa77139169" ma:termSetId="1e542667-cb91-40c1-95af-574bb1f275f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ocument_comments" ma:index="14" nillable="true" ma:displayName="Doc comments" ma:internalName="Document_comments">
      <xsd:simpleType>
        <xsd:restriction base="dms:Note">
          <xsd:maxLength value="255"/>
        </xsd:restriction>
      </xsd:simpleType>
    </xsd:element>
    <xsd:element name="Expiration_date" ma:index="15" nillable="true" ma:displayName="Expiration date" ma:format="DateOnly" ma:internalName="Expiration_date">
      <xsd:simpleType>
        <xsd:restriction base="dms:DateTime"/>
      </xsd:simpleType>
    </xsd:element>
    <xsd:element name="AI__x0025__Duplicate_candidate" ma:index="16" nillable="true" ma:displayName="AI_%_Duplicate_candidate" ma:internalName="AI__x0025__Duplicate_candidate">
      <xsd:simpleType>
        <xsd:restriction base="dms:Text">
          <xsd:maxLength value="255"/>
        </xsd:restriction>
      </xsd:simpleType>
    </xsd:element>
    <xsd:element name="AI__x0025__Relevance_A" ma:index="17" nillable="true" ma:displayName="AI_%_Relevance_A" ma:internalName="AI__x0025__Relevance_A" ma:percentage="TRUE">
      <xsd:simpleType>
        <xsd:restriction base="dms:Number">
          <xsd:maxInclusive value="1.00"/>
        </xsd:restriction>
      </xsd:simpleType>
    </xsd:element>
    <xsd:element name="AI__x0025__Relevance_B" ma:index="18" nillable="true" ma:displayName="AI_%_Relevance_B" ma:internalName="AI__x0025__Relevance_B" ma:percentage="TRUE">
      <xsd:simpleType>
        <xsd:restriction base="dms:Number">
          <xsd:maxInclusive value="1.00"/>
        </xsd:restriction>
      </xsd:simpleType>
    </xsd:element>
    <xsd:element name="AI_Batch_reference" ma:index="19" nillable="true" ma:displayName="AI_Batch_reference" ma:internalName="AI_Batch_reference">
      <xsd:simpleType>
        <xsd:restriction base="dms:Text">
          <xsd:maxLength value="255"/>
        </xsd:restriction>
      </xsd:simpleType>
    </xsd:element>
    <xsd:element name="AI_Classification_A" ma:index="20" nillable="true" ma:displayName="AI_Classification_A" ma:internalName="AI_Classification_A">
      <xsd:simpleType>
        <xsd:restriction base="dms:Text">
          <xsd:maxLength value="255"/>
        </xsd:restriction>
      </xsd:simpleType>
    </xsd:element>
    <xsd:element name="AI_Classification_B" ma:index="21" nillable="true" ma:displayName="AI_Classification_B" ma:internalName="AI_Classification_B">
      <xsd:simpleType>
        <xsd:restriction base="dms:Text">
          <xsd:maxLength value="255"/>
        </xsd:restriction>
      </xsd:simpleType>
    </xsd:element>
    <xsd:element name="AI_Classification_has_been_requested" ma:index="22" nillable="true" ma:displayName="AI_Classification_has_been_requested" ma:default="0" ma:internalName="AI_Classification_has_been_requested">
      <xsd:simpleType>
        <xsd:restriction base="dms:Boolean"/>
      </xsd:simpleType>
    </xsd:element>
    <xsd:element name="AI_Cluster" ma:index="23" nillable="true" ma:displayName="AI_Cluster" ma:internalName="AI_Cluster">
      <xsd:simpleType>
        <xsd:restriction base="dms:Text">
          <xsd:maxLength value="255"/>
        </xsd:restriction>
      </xsd:simpleType>
    </xsd:element>
    <xsd:element name="AI_Duplicate_status" ma:index="24" nillable="true" ma:displayName="AI_Duplicate_status" ma:internalName="AI_Duplicate_status">
      <xsd:simpleType>
        <xsd:restriction base="dms:Text">
          <xsd:maxLength value="255"/>
        </xsd:restriction>
      </xsd:simpleType>
    </xsd:element>
    <xsd:element name="AI_Initial_directory" ma:index="25" nillable="true" ma:displayName="AI_Initial_directory" ma:internalName="AI_Initial_directory">
      <xsd:simpleType>
        <xsd:restriction base="dms:Text">
          <xsd:maxLength value="255"/>
        </xsd:restriction>
      </xsd:simpleType>
    </xsd:element>
    <xsd:element name="AI_Labelling_error" ma:index="26" nillable="true" ma:displayName="AI_Labelling_error" ma:default="0" ma:internalName="AI_Labelling_error">
      <xsd:simpleType>
        <xsd:restriction base="dms:Boolean"/>
      </xsd:simpleType>
    </xsd:element>
    <xsd:element name="f56f3b9b03444df3b2ef6aaf7c0cbaa6" ma:index="27" nillable="true" ma:taxonomy="true" ma:internalName="f56f3b9b03444df3b2ef6aaf7c0cbaa6" ma:taxonomyFieldName="AI_Normalisation_status" ma:displayName="AI_Normalisation_status" ma:default="" ma:fieldId="{f56f3b9b-0344-4df3-b2ef-6aaf7c0cbaa6}" ma:sspId="51ab7c41-b059-4fba-bc0c-4efa77139169" ma:termSetId="a566f7a0-90fb-4cfd-a025-f7a3da07499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I_Requested__x0020_manual_classification" ma:index="29" nillable="true" ma:displayName="AI_Requested_ manual_classification" ma:default="0" ma:internalName="AI_Requested__x0020_manual_classification">
      <xsd:simpleType>
        <xsd:restriction base="dms:Boolean"/>
      </xsd:simpleType>
    </xsd:element>
    <xsd:element name="AI_SHP_Reference" ma:index="30" nillable="true" ma:displayName="AI_SHP_Reference" ma:hidden="true" ma:internalName="AI_SHP_Reference" ma:readOnly="false">
      <xsd:simpleType>
        <xsd:restriction base="dms:Text">
          <xsd:maxLength value="255"/>
        </xsd:restriction>
      </xsd:simpleType>
    </xsd:element>
    <xsd:element name="AI_Waiting_for_auto_classification" ma:index="31" nillable="true" ma:displayName="AI_Waiting_for_auto_classification" ma:default="0" ma:internalName="AI_Waiting_for_auto_classification">
      <xsd:simpleType>
        <xsd:restriction base="dms:Boolean"/>
      </xsd:simpleType>
    </xsd:element>
    <xsd:element name="i3815fca76db49ac95ea420f7cf911c6" ma:index="32" ma:taxonomy="true" ma:internalName="i3815fca76db49ac95ea420f7cf911c6" ma:taxonomyFieldName="Confidentiality" ma:displayName="Confidentiality" ma:default="8;#3 - Internal use only|444dad51-745a-4285-abc9-4365fac0ec25" ma:fieldId="{23815fca-76db-49ac-95ea-420f7cf911c6}" ma:sspId="51ab7c41-b059-4fba-bc0c-4efa77139169" ma:termSetId="4ce234e3-b8ca-4796-8882-4f21ffe1b8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88422c06c974aee9bbadae853be99f3" ma:index="34" ma:taxonomy="true" ma:internalName="e88422c06c974aee9bbadae853be99f3" ma:taxonomyFieldName="GDPR" ma:displayName="GDPR" ma:readOnly="false" ma:default="10;#NA|3fbde490-865b-454f-b890-2db0972ec210" ma:fieldId="{e88422c0-6c97-4aee-9bba-dae853be99f3}" ma:sspId="51ab7c41-b059-4fba-bc0c-4efa77139169" ma:termSetId="a70036e0-1808-4628-8c65-155ea273b16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ntext" ma:index="36" nillable="true" ma:displayName="Context" ma:internalName="Context">
      <xsd:simpleType>
        <xsd:restriction base="dms:Note">
          <xsd:maxLength value="255"/>
        </xsd:restriction>
      </xsd:simpleType>
    </xsd:element>
    <xsd:element name="Doc_Language" ma:index="37" nillable="true" ma:displayName="Doc language" ma:internalName="Doc_Language">
      <xsd:simpleType>
        <xsd:restriction base="dms:Text">
          <xsd:maxLength value="255"/>
        </xsd:restriction>
      </xsd:simpleType>
    </xsd:element>
    <xsd:element name="AI_AIDB_status_TXT" ma:index="38" nillable="true" ma:displayName="AI_AIDB_status_TXT" ma:internalName="AI_AIDB_status_TXT">
      <xsd:simpleType>
        <xsd:restriction base="dms:Text">
          <xsd:maxLength value="255"/>
        </xsd:restriction>
      </xsd:simpleType>
    </xsd:element>
    <xsd:element name="jdb7fc4e974a45188d91caad41c9ef17" ma:index="39" nillable="true" ma:taxonomy="true" ma:internalName="jdb7fc4e974a45188d91caad41c9ef17" ma:taxonomyFieldName="AI_AIDB_status_MM" ma:displayName="AI_AIDB_status_MM" ma:default="" ma:fieldId="{3db7fc4e-974a-4518-8d91-caad41c9ef17}" ma:sspId="51ab7c41-b059-4fba-bc0c-4efa77139169" ma:termSetId="c9536394-d76c-413e-9bc5-a7e833b62c4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I_AIDB_ID" ma:index="41" nillable="true" ma:displayName="AI_AIDB_ID" ma:internalName="AI_AIDB_ID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51ab7c41-b059-4fba-bc0c-4efa77139169" ContentTypeId="0x010100CC1452B3D32F8440B544A8D906354C2B" PreviousValue="false" LastSyncTimeStamp="2022-02-24T13:33:19.327Z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I_Requested__x0020_manual_classification xmlns="063f955d-52cd-40b2-80f5-70171ea2be06">false</AI_Requested__x0020_manual_classification>
    <e88422c06c974aee9bbadae853be99f3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A</TermName>
          <TermId xmlns="http://schemas.microsoft.com/office/infopath/2007/PartnerControls">3fbde490-865b-454f-b890-2db0972ec210</TermId>
        </TermInfo>
      </Terms>
    </e88422c06c974aee9bbadae853be99f3>
    <f56f3b9b03444df3b2ef6aaf7c0cbaa6 xmlns="063f955d-52cd-40b2-80f5-70171ea2be06">
      <Terms xmlns="http://schemas.microsoft.com/office/infopath/2007/PartnerControls"/>
    </f56f3b9b03444df3b2ef6aaf7c0cbaa6>
    <AI_Waiting_for_auto_classification xmlns="063f955d-52cd-40b2-80f5-70171ea2be06">false</AI_Waiting_for_auto_classification>
    <TaxCatchAll xmlns="063f955d-52cd-40b2-80f5-70171ea2be06">
      <Value>10</Value>
      <Value>9</Value>
      <Value>8</Value>
      <Value>7</Value>
    </TaxCatchAll>
    <AI_Labelling_error xmlns="063f955d-52cd-40b2-80f5-70171ea2be06">false</AI_Labelling_error>
    <i3815fca76db49ac95ea420f7cf911c6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3 - Internal use only</TermName>
          <TermId xmlns="http://schemas.microsoft.com/office/infopath/2007/PartnerControls">444dad51-745a-4285-abc9-4365fac0ec25</TermId>
        </TermInfo>
      </Terms>
    </i3815fca76db49ac95ea420f7cf911c6>
    <c48dca2c4d3f41848d6c6bfa73049c67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A</TermName>
          <TermId xmlns="http://schemas.microsoft.com/office/infopath/2007/PartnerControls">985ce182-55de-4937-95b7-506adedf733b</TermId>
        </TermInfo>
      </Terms>
    </c48dca2c4d3f41848d6c6bfa73049c67>
    <jdb7fc4e974a45188d91caad41c9ef17 xmlns="063f955d-52cd-40b2-80f5-70171ea2be06">
      <Terms xmlns="http://schemas.microsoft.com/office/infopath/2007/PartnerControls"/>
    </jdb7fc4e974a45188d91caad41c9ef17>
    <mf725ba62fce447fb9bbcc06eaaae514 xmlns="063f955d-52cd-40b2-80f5-70171ea2be06">
      <Terms xmlns="http://schemas.microsoft.com/office/infopath/2007/PartnerControls">
        <TermInfo xmlns="http://schemas.microsoft.com/office/infopath/2007/PartnerControls">
          <TermName xmlns="http://schemas.microsoft.com/office/infopath/2007/PartnerControls">Being worked on</TermName>
          <TermId xmlns="http://schemas.microsoft.com/office/infopath/2007/PartnerControls">61239119-fb6b-4477-99a9-0d9e8dd1a49e</TermId>
        </TermInfo>
      </Terms>
    </mf725ba62fce447fb9bbcc06eaaae514>
    <AI_Classification_has_been_requested xmlns="063f955d-52cd-40b2-80f5-70171ea2be06">false</AI_Classification_has_been_requested>
    <Document_comments xmlns="063f955d-52cd-40b2-80f5-70171ea2be06" xsi:nil="true"/>
    <AI_Cluster xmlns="063f955d-52cd-40b2-80f5-70171ea2be06" xsi:nil="true"/>
    <AI_Initial_directory xmlns="063f955d-52cd-40b2-80f5-70171ea2be06" xsi:nil="true"/>
    <AI__x0025__Relevance_B xmlns="063f955d-52cd-40b2-80f5-70171ea2be06" xsi:nil="true"/>
    <Expiration_date xmlns="063f955d-52cd-40b2-80f5-70171ea2be06" xsi:nil="true"/>
    <AI_SHP_Reference xmlns="063f955d-52cd-40b2-80f5-70171ea2be06">20231020-00012</AI_SHP_Reference>
    <AI_Duplicate_status xmlns="063f955d-52cd-40b2-80f5-70171ea2be06" xsi:nil="true"/>
    <Context xmlns="063f955d-52cd-40b2-80f5-70171ea2be06" xsi:nil="true"/>
    <AI__x0025__Relevance_A xmlns="063f955d-52cd-40b2-80f5-70171ea2be06" xsi:nil="true"/>
    <AI_Batch_reference xmlns="063f955d-52cd-40b2-80f5-70171ea2be06" xsi:nil="true"/>
    <Doc_Language xmlns="063f955d-52cd-40b2-80f5-70171ea2be06" xsi:nil="true"/>
    <AI_AIDB_ID xmlns="063f955d-52cd-40b2-80f5-70171ea2be06" xsi:nil="true"/>
    <AI_Classification_B xmlns="063f955d-52cd-40b2-80f5-70171ea2be06" xsi:nil="true"/>
    <AI_AIDB_status_TXT xmlns="063f955d-52cd-40b2-80f5-70171ea2be06" xsi:nil="true"/>
    <AI_Classification_A xmlns="063f955d-52cd-40b2-80f5-70171ea2be06" xsi:nil="true"/>
    <AI__x0025__Duplicate_candidate xmlns="063f955d-52cd-40b2-80f5-70171ea2be06" xsi:nil="true"/>
  </documentManagement>
</p:properties>
</file>

<file path=customXml/itemProps1.xml><?xml version="1.0" encoding="utf-8"?>
<ds:datastoreItem xmlns:ds="http://schemas.openxmlformats.org/officeDocument/2006/customXml" ds:itemID="{A1898306-0007-4119-B15A-D14688D3C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3f955d-52cd-40b2-80f5-70171ea2b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A86F4EE-CE93-45CE-AF67-3451A1BEE23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EEA49548-A603-4A14-9E0D-DE3869EB3E3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F17EB0DE-152B-484A-9897-BE278771188F}">
  <ds:schemaRefs>
    <ds:schemaRef ds:uri="http://schemas.microsoft.com/office/2006/metadata/properties"/>
    <ds:schemaRef ds:uri="http://schemas.microsoft.com/office/infopath/2007/PartnerControls"/>
    <ds:schemaRef ds:uri="063f955d-52cd-40b2-80f5-70171ea2be0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10</Words>
  <Application>Microsoft Office PowerPoint</Application>
  <PresentationFormat>Widescreen</PresentationFormat>
  <Paragraphs>127</Paragraphs>
  <Slides>61</Slides>
  <Notes>5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67" baseType="lpstr">
      <vt:lpstr>Arial</vt:lpstr>
      <vt:lpstr>Calibri</vt:lpstr>
      <vt:lpstr>Calibri Light</vt:lpstr>
      <vt:lpstr>Wingdings</vt:lpstr>
      <vt:lpstr>Thème Office</vt:lpstr>
      <vt:lpstr>think-cell Folie</vt:lpstr>
      <vt:lpstr>The European Chemical industry  Facts and Figures 2023</vt:lpstr>
      <vt:lpstr>1. Profile - key figures </vt:lpstr>
      <vt:lpstr>Europe is the second-largest chemical producer in the world</vt:lpstr>
      <vt:lpstr>China dominates chemical sales globally</vt:lpstr>
      <vt:lpstr>EU27 market share dropped significantly</vt:lpstr>
      <vt:lpstr>Over 20 years, the world market share of EU27 chemical sales  drops sharply</vt:lpstr>
      <vt:lpstr>Petrochemicals account for more than one fourth of EU27  chemical sales</vt:lpstr>
      <vt:lpstr>Two thirds of EU27 chemical sales generated in four Member States</vt:lpstr>
      <vt:lpstr>EU27 chemical sales significantly increased in 2022</vt:lpstr>
      <vt:lpstr>Nearly one third of EU27 chemical sales is generated from exports</vt:lpstr>
      <vt:lpstr>More than half of EU chemicals are supplied to the industry</vt:lpstr>
      <vt:lpstr>2. Trade Development </vt:lpstr>
      <vt:lpstr>EU27 chemical trade surplus reaches a lower level in 2022</vt:lpstr>
      <vt:lpstr>Petrochemicals contributes most to EU27 chemical trade</vt:lpstr>
      <vt:lpstr>Top 10 EU27 partners account for two thirds of EU27 chemical trade*</vt:lpstr>
      <vt:lpstr>EU27 holds trade surplus with top competing regions</vt:lpstr>
      <vt:lpstr>Consumer chemicals contribute most to EU27 chemical  trade surplus</vt:lpstr>
      <vt:lpstr>Chemicals* generates one of the lowest surplus in the European Economy</vt:lpstr>
      <vt:lpstr>3. Growth and Competitiveness </vt:lpstr>
      <vt:lpstr>EU27 chemicals output, far below the previous year’s level</vt:lpstr>
      <vt:lpstr>EU27 capacity utilisation below its long-term average</vt:lpstr>
      <vt:lpstr>PowerPoint Presentation</vt:lpstr>
      <vt:lpstr>Key emerging economies grow faster than the EU27 and the USA</vt:lpstr>
      <vt:lpstr>4. Our contribution to EU industry </vt:lpstr>
      <vt:lpstr>Top 10 sectors account for 70% of total EU27 manufacturing enterprises</vt:lpstr>
      <vt:lpstr>Consumer chemicals has the highest number of chemicals enterprises </vt:lpstr>
      <vt:lpstr>Chemicals is the fourth-largest producer in EU27 manufacturing sector</vt:lpstr>
      <vt:lpstr>Chemicals* is the leading sector in terms of added value</vt:lpstr>
      <vt:lpstr>Petrochemicals has the highest added value in EU27 chemicals sector </vt:lpstr>
      <vt:lpstr>Chemicals* contributes 12% of EU27 manufacturing employment</vt:lpstr>
      <vt:lpstr>Consumer chemicals is the largest employer in the EU27 chemicals sector</vt:lpstr>
      <vt:lpstr>EU27 Labour productivity grows at 4.5%</vt:lpstr>
      <vt:lpstr>Chemicals* is the largest investor in EU27 manufacturing sector</vt:lpstr>
      <vt:lpstr>Petrochemicals is the largest investor in the EU27 chemicals sector</vt:lpstr>
      <vt:lpstr>5. Energy Consumption </vt:lpstr>
      <vt:lpstr>EU27 gas and electricity account for two thirds of total energy consumption</vt:lpstr>
      <vt:lpstr>EU27 energy consumption falls 20% since 1990</vt:lpstr>
      <vt:lpstr>EU27 gas consumption falls 21% since 1990</vt:lpstr>
      <vt:lpstr>EU27 electrical energy consumption falls 14% since 1990</vt:lpstr>
      <vt:lpstr>EU27 Total petroleum consumption falls 24% since 1990</vt:lpstr>
      <vt:lpstr>EU27 solid fuels consumption falls 69% since 1990</vt:lpstr>
      <vt:lpstr>EU27 Renewable energies consumption more than doubled</vt:lpstr>
      <vt:lpstr>EU27 specific energy consumption* dropped by 48% </vt:lpstr>
      <vt:lpstr>EU27 chemicals performance* is slightly higher than overall industry</vt:lpstr>
      <vt:lpstr>6. Capital and R&amp;I Spending </vt:lpstr>
      <vt:lpstr>EU27 capital spending increased significantly in 2022</vt:lpstr>
      <vt:lpstr>China leads the global chemicals investment</vt:lpstr>
      <vt:lpstr>Hight capital intensity in the EU27 chemical sector</vt:lpstr>
      <vt:lpstr>EU27 capital intensity below China and India economies</vt:lpstr>
      <vt:lpstr>EU27 loses more than 50% of its original market share</vt:lpstr>
      <vt:lpstr>Decreasing share of chemicals capital spending for the EU27</vt:lpstr>
      <vt:lpstr>EU27 R&amp;I spending reaches the highest level in 2022</vt:lpstr>
      <vt:lpstr>EU27 is the one of the third-largest R&amp;I investor in the world</vt:lpstr>
      <vt:lpstr>Decreasing share of R&amp;I spending for the EU27 and Japan</vt:lpstr>
      <vt:lpstr>7. Environmental Performance </vt:lpstr>
      <vt:lpstr>EU27 scope 1 GHG emissions fall 52% since 1990</vt:lpstr>
      <vt:lpstr>EU27 scope 1 GHG emissions* fall by 133 million tonnes (CO2) since 1990</vt:lpstr>
      <vt:lpstr>EU27 chemical production and greenhouse gas emissions decouple</vt:lpstr>
      <vt:lpstr>EU27 greenhouse gas intensity plummets significantly since 1990</vt:lpstr>
      <vt:lpstr>Total number of accidents dropped by over one third in the EU27 chemical industry </vt:lpstr>
      <vt:lpstr>    Contact :  Dr Moncef HADHRI Cefic Industrial Policy - Economic Affairs mha@cefic.b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ersende DE KERCHOVE</dc:creator>
  <cp:lastModifiedBy>TOPOUZIAN Fabienne</cp:lastModifiedBy>
  <cp:revision>160</cp:revision>
  <cp:lastPrinted>2022-11-17T10:37:46Z</cp:lastPrinted>
  <dcterms:created xsi:type="dcterms:W3CDTF">2020-12-02T13:51:15Z</dcterms:created>
  <dcterms:modified xsi:type="dcterms:W3CDTF">2023-12-05T15:0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lpwstr>100.000000000000</vt:lpwstr>
  </property>
  <property fmtid="{D5CDD505-2E9C-101B-9397-08002B2CF9AE}" pid="3" name="TaxKeyword">
    <vt:lpwstr/>
  </property>
  <property fmtid="{D5CDD505-2E9C-101B-9397-08002B2CF9AE}" pid="4" name="AI_AIDB_status_MM">
    <vt:lpwstr/>
  </property>
  <property fmtid="{D5CDD505-2E9C-101B-9397-08002B2CF9AE}" pid="5" name="Document_status">
    <vt:lpwstr>7;#Being worked on|61239119-fb6b-4477-99a9-0d9e8dd1a49e</vt:lpwstr>
  </property>
  <property fmtid="{D5CDD505-2E9C-101B-9397-08002B2CF9AE}" pid="6" name="Confidentiality">
    <vt:lpwstr>8;#3 - Internal use only|444dad51-745a-4285-abc9-4365fac0ec25</vt:lpwstr>
  </property>
  <property fmtid="{D5CDD505-2E9C-101B-9397-08002B2CF9AE}" pid="7" name="ContentTypeId">
    <vt:lpwstr>0x010100CC1452B3D32F8440B544A8D906354C2B00891CC1E628F8694CBBE43AF155309C0A</vt:lpwstr>
  </property>
  <property fmtid="{D5CDD505-2E9C-101B-9397-08002B2CF9AE}" pid="8" name="TaxKeywordTaxHTField">
    <vt:lpwstr/>
  </property>
  <property fmtid="{D5CDD505-2E9C-101B-9397-08002B2CF9AE}" pid="9" name="Document_Type">
    <vt:lpwstr>9;#NA|985ce182-55de-4937-95b7-506adedf733b</vt:lpwstr>
  </property>
  <property fmtid="{D5CDD505-2E9C-101B-9397-08002B2CF9AE}" pid="10" name="GDPR">
    <vt:lpwstr>10;#NA|3fbde490-865b-454f-b890-2db0972ec210</vt:lpwstr>
  </property>
  <property fmtid="{D5CDD505-2E9C-101B-9397-08002B2CF9AE}" pid="11" name="AI_Normalisation_status">
    <vt:lpwstr/>
  </property>
  <property fmtid="{D5CDD505-2E9C-101B-9397-08002B2CF9AE}" pid="12" name="MediaServiceImageTags">
    <vt:lpwstr/>
  </property>
  <property fmtid="{D5CDD505-2E9C-101B-9397-08002B2CF9AE}" pid="13" name="lcf76f155ced4ddcb4097134ff3c332f">
    <vt:lpwstr/>
  </property>
  <property fmtid="{D5CDD505-2E9C-101B-9397-08002B2CF9AE}" pid="14" name="MSIP_Label_a31278c8-9e0c-4164-90a5-45ac4b30bdbb_Enabled">
    <vt:lpwstr>true</vt:lpwstr>
  </property>
  <property fmtid="{D5CDD505-2E9C-101B-9397-08002B2CF9AE}" pid="15" name="MSIP_Label_a31278c8-9e0c-4164-90a5-45ac4b30bdbb_SetDate">
    <vt:lpwstr>2023-10-20T09:09:02Z</vt:lpwstr>
  </property>
  <property fmtid="{D5CDD505-2E9C-101B-9397-08002B2CF9AE}" pid="16" name="MSIP_Label_a31278c8-9e0c-4164-90a5-45ac4b30bdbb_Method">
    <vt:lpwstr>Standard</vt:lpwstr>
  </property>
  <property fmtid="{D5CDD505-2E9C-101B-9397-08002B2CF9AE}" pid="17" name="MSIP_Label_a31278c8-9e0c-4164-90a5-45ac4b30bdbb_Name">
    <vt:lpwstr>Public</vt:lpwstr>
  </property>
  <property fmtid="{D5CDD505-2E9C-101B-9397-08002B2CF9AE}" pid="18" name="MSIP_Label_a31278c8-9e0c-4164-90a5-45ac4b30bdbb_SiteId">
    <vt:lpwstr>2aa31c1f-01c3-45fb-ac5d-93315bf8649e</vt:lpwstr>
  </property>
  <property fmtid="{D5CDD505-2E9C-101B-9397-08002B2CF9AE}" pid="19" name="MSIP_Label_a31278c8-9e0c-4164-90a5-45ac4b30bdbb_ActionId">
    <vt:lpwstr>bcef0302-ca85-4c07-94b5-87095f438109</vt:lpwstr>
  </property>
  <property fmtid="{D5CDD505-2E9C-101B-9397-08002B2CF9AE}" pid="20" name="MSIP_Label_a31278c8-9e0c-4164-90a5-45ac4b30bdbb_ContentBits">
    <vt:lpwstr>0</vt:lpwstr>
  </property>
</Properties>
</file>